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  <p:sldMasterId id="2147483699" r:id="rId5"/>
    <p:sldMasterId id="2147483739" r:id="rId6"/>
    <p:sldMasterId id="2147483803" r:id="rId7"/>
    <p:sldMasterId id="2147483829" r:id="rId8"/>
  </p:sldMasterIdLst>
  <p:notesMasterIdLst>
    <p:notesMasterId r:id="rId42"/>
  </p:notesMasterIdLst>
  <p:sldIdLst>
    <p:sldId id="509" r:id="rId9"/>
    <p:sldId id="511" r:id="rId10"/>
    <p:sldId id="501" r:id="rId11"/>
    <p:sldId id="537" r:id="rId12"/>
    <p:sldId id="517" r:id="rId13"/>
    <p:sldId id="518" r:id="rId14"/>
    <p:sldId id="507" r:id="rId15"/>
    <p:sldId id="506" r:id="rId16"/>
    <p:sldId id="540" r:id="rId17"/>
    <p:sldId id="541" r:id="rId18"/>
    <p:sldId id="529" r:id="rId19"/>
    <p:sldId id="527" r:id="rId20"/>
    <p:sldId id="520" r:id="rId21"/>
    <p:sldId id="530" r:id="rId22"/>
    <p:sldId id="525" r:id="rId23"/>
    <p:sldId id="523" r:id="rId24"/>
    <p:sldId id="524" r:id="rId25"/>
    <p:sldId id="528" r:id="rId26"/>
    <p:sldId id="542" r:id="rId27"/>
    <p:sldId id="539" r:id="rId28"/>
    <p:sldId id="532" r:id="rId29"/>
    <p:sldId id="543" r:id="rId30"/>
    <p:sldId id="533" r:id="rId31"/>
    <p:sldId id="544" r:id="rId32"/>
    <p:sldId id="535" r:id="rId33"/>
    <p:sldId id="545" r:id="rId34"/>
    <p:sldId id="546" r:id="rId35"/>
    <p:sldId id="499" r:id="rId36"/>
    <p:sldId id="548" r:id="rId37"/>
    <p:sldId id="550" r:id="rId38"/>
    <p:sldId id="551" r:id="rId39"/>
    <p:sldId id="552" r:id="rId40"/>
    <p:sldId id="547" r:id="rId41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Mäkelä Kristiina" initials="MK" lastIdx="33" clrIdx="0">
    <p:extLst>
      <p:ext uri="{19B8F6BF-5375-455C-9EA6-DF929625EA0E}">
        <p15:presenceInfo xmlns:p15="http://schemas.microsoft.com/office/powerpoint/2012/main" userId="S::kristiina.makela@aalto.fi::f3530572-b412-48dd-9070-0c6aa63485f3" providerId="AD"/>
      </p:ext>
    </p:extLst>
  </p:cmAuthor>
  <p:cmAuthor id="3" name="Laura Eiro" initials="LE" lastIdx="0" clrIdx="1">
    <p:extLst>
      <p:ext uri="{19B8F6BF-5375-455C-9EA6-DF929625EA0E}">
        <p15:presenceInfo xmlns:p15="http://schemas.microsoft.com/office/powerpoint/2012/main" userId="S-1-5-21-3521595049-301303566-333748410-1297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40" autoAdjust="0"/>
    <p:restoredTop sz="72183" autoAdjust="0"/>
  </p:normalViewPr>
  <p:slideViewPr>
    <p:cSldViewPr snapToGrid="0">
      <p:cViewPr varScale="1">
        <p:scale>
          <a:sx n="71" d="100"/>
          <a:sy n="71" d="100"/>
        </p:scale>
        <p:origin x="60" y="3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B2F00D-A8D6-4A70-ACF3-F9033943ED44}" type="datetimeFigureOut">
              <a:rPr lang="fi-FI" smtClean="0"/>
              <a:t>16.5.2021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B8D2F0-F551-44C2-A65F-18E882F6DDB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797937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usinessfinland.fi/4931cb/globalassets/julkaisut/innovaatioseminaari_matti_pohjola.pdf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.europa.eu/sites/default/files/edp_landscaping_insight_report_n6_2020.pdf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79115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33CE14-C27A-42FB-A7CF-16D08FB8F53C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38542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33CE14-C27A-42FB-A7CF-16D08FB8F53C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89040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 smtClean="0"/>
              <a:t>-out-</a:t>
            </a:r>
            <a:r>
              <a:rPr lang="fi-FI" dirty="0" err="1" smtClean="0"/>
              <a:t>put</a:t>
            </a:r>
            <a:r>
              <a:rPr lang="fi-FI" dirty="0" smtClean="0"/>
              <a:t> mittaristoon pitäisi eriyttää, esimerkiksi laadullinen BKT:n kasvua kuvaava mittari (osoittamaan esim. korkean arvonlisän liiketoiminnasta syntyvää BKT:tä).</a:t>
            </a:r>
          </a:p>
          <a:p>
            <a:r>
              <a:rPr lang="fi-FI" dirty="0" smtClean="0"/>
              <a:t>- yritysten ICT-investoinnit ja niiden kehitys? laahaavat kilpailijamaiden jäljessä.</a:t>
            </a:r>
            <a:br>
              <a:rPr lang="fi-FI" dirty="0" smtClean="0"/>
            </a:br>
            <a:r>
              <a:rPr lang="fi-FI" dirty="0" smtClean="0"/>
              <a:t>- Vientiin ja kasvuhakuisuuteen liittyen lisättäväksi voisi harkita vientiä tekevien pk-yritysten osuuden sekä voimakkaasti kasvuhakuisten pk-yritysten osuuden kasvattaminen (mittari: Pk-yritysbarometri).</a:t>
            </a:r>
            <a:br>
              <a:rPr lang="fi-FI" dirty="0" smtClean="0"/>
            </a:br>
            <a:r>
              <a:rPr lang="fi-FI" dirty="0" smtClean="0"/>
              <a:t>- olisiko syytä asettaa tavoite korkean digikypsyyden omaavien yritysten osuuden kasvattamiselle (mittari: EU:n DESI-indeksi).</a:t>
            </a:r>
            <a:br>
              <a:rPr lang="fi-FI" dirty="0" smtClean="0"/>
            </a:br>
            <a:r>
              <a:rPr lang="fi-FI" dirty="0" smtClean="0"/>
              <a:t>- Edellisen lisäksi tai sijaan voisi harkita myös Suomen yrityskentän suhteellisen sijoituksen kehitystä Etlan toteuttamassa Digibarometrissä ja/tai EU:n DESI-indeksissä.</a:t>
            </a:r>
          </a:p>
          <a:p>
            <a:r>
              <a:rPr lang="fi-FI" dirty="0" smtClean="0"/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</a:t>
            </a:r>
            <a:r>
              <a:rPr lang="fi-FI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+mn-lt"/>
              </a:rPr>
              <a:t>kiinteät investoinnit -&gt;</a:t>
            </a:r>
            <a:r>
              <a:rPr lang="fi-FI" sz="1200" b="0" i="0" u="none" kern="1200" baseline="0" dirty="0" smtClean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 kone-, laite- ja henkisen pääoman investoinnit?</a:t>
            </a:r>
            <a:endParaRPr lang="fi-FI" sz="1200" b="0" i="0" u="none" kern="1200" dirty="0" smtClean="0">
              <a:solidFill>
                <a:srgbClr val="FF0000"/>
              </a:solidFill>
              <a:latin typeface="+mn-lt"/>
              <a:ea typeface="+mn-ea"/>
              <a:cs typeface="+mn-cs"/>
              <a:sym typeface="+mn-lt"/>
            </a:endParaRPr>
          </a:p>
          <a:p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yhtenä osamittarina tietointensiivisten markkinapalvelujen osuus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KT:sta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ti Pohjola Aallosta on nostanut esiin että Suomi tulee tällä mittarilla kilpailijamaita jäljessä. Alla poiminta Matin esityksestä. Häneltä ja muilta asiaan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hkiytyineiltä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aloustieteilijöiltä tai valtiovarainministeriön asiantuntijoilta voisi tulla hyviä ehdotuksia siihen, miten mitata bruttokansantuotteen laadullista muutosta ja osaamisintensiivisyyttä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dirty="0" smtClean="0">
                <a:hlinkClick r:id="rId3"/>
              </a:rPr>
              <a:t>Microsoft PowerPoint - DOKU-#2374043-v1-Innovaatioseminaari_Matti_Pohjola_02032020.PPTX (businessfinland.fi)</a:t>
            </a:r>
            <a:endParaRPr lang="fi-FI" dirty="0" smtClean="0"/>
          </a:p>
          <a:p>
            <a:endParaRPr lang="fi-FI" dirty="0" smtClean="0"/>
          </a:p>
          <a:p>
            <a:pPr rtl="0" eaLnBrk="1" fontAlgn="auto" latinLnBrk="0" hangingPunct="1"/>
            <a:r>
              <a:rPr lang="fi-FI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</a:t>
            </a:r>
            <a:r>
              <a:rPr lang="fi-FI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iemmin esillä: </a:t>
            </a:r>
            <a:r>
              <a:rPr lang="fi-FI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ustettavien yritysten määrä kasvaa TAI Teknologiasektorin työpaikkojen määrä kasvaa</a:t>
            </a:r>
          </a:p>
          <a:p>
            <a:pPr rtl="0" eaLnBrk="1" fontAlgn="auto" latinLnBrk="0" hangingPunct="1"/>
            <a:r>
              <a:rPr lang="fi-FI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ustettavien yritysten määrä 1000 työikäistä kohti kasvaa muiden Pohjoismaiden ohi</a:t>
            </a:r>
            <a:r>
              <a:rPr lang="fi-FI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i-FI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,3 -&gt;10,0 (haasteena palveluyritykset)</a:t>
            </a:r>
          </a:p>
          <a:p>
            <a:pPr rtl="0" eaLnBrk="1" fontAlgn="auto" latinLnBrk="0" hangingPunct="1"/>
            <a:endParaRPr lang="fi-FI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uusi: Julkishallinnon markkinoilta hankkimien ratkaisujen määrä (euroissa) ja sen suhde julkishallinnon in-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use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yhtiöiltä ostamiin euroihin + itse kehittämisen kustannuksiin -&gt; toimenpiteisiin</a:t>
            </a:r>
          </a:p>
          <a:p>
            <a:pPr rtl="0" eaLnBrk="1" fontAlgn="auto" latinLnBrk="0" hangingPunct="1"/>
            <a:endParaRPr lang="fi-FI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286448-0962-443A-A7A6-40140D0BD552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118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Tavoitetasoksi työ- ja koulutusperusteiselle maahanmuutolle hallituksen puoliväliriihessä asettamat tavoitteet: Hallitus tavoittelee työperäisen maahanmuuton vähintään kaksinkertaistamista nykytasosta vuoteen 2030 mennessä siten, että kestävyystiekartan edellyttämä vähintään</a:t>
            </a:r>
            <a:r>
              <a:rPr lang="fi-FI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0 000 työperäisen maahanmuuttajan kokonaislisäys toteutuu. Uusien ulkomaalaisten tutkinto-opiskelijoiden määrä pyritään kolminkertaistamaan vuoteen 2030 mennessä nostaen samalla opiskelijoiden Suomeen työllistyminen ja jääminen 75 prosenttiin.</a:t>
            </a: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KR x: Suomen houkuttelevuuden nostaminen nuorten korkeasti koulutettujen kansainvälisten osaajien joukossa. Mittari: Nuorten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rkeastikoulutetujen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ettomaahanmuutto (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nchmark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uut Pohjoismaat ja anglosaksiset maat)</a:t>
            </a:r>
          </a:p>
          <a:p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Hyvin keskeinen avaintulos olisi Suomalaisten korkeakoulujen menestys / suomalaisten yliopistojen taso kansainvälisessä mittauksessa. kansainvälisissä vertailuissa</a:t>
            </a:r>
            <a:b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Uusi: suomalaisen koulutuksen/osaamisen tason mittaaminen. Se olisi minusta ehdottomasti syytä lisätä. En osaa suoraan sanoa mittaria, mutta voisi vaikka kytkeä jotenkin korkeakoulusta valmistuvien henkilöiden määrään tai jotain.</a:t>
            </a:r>
            <a:b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286448-0962-443A-A7A6-40140D0BD552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8703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KR2: Palveluiden määrän kasvu tai käyttömäärien kasvu ei itsessään ole riittävä tai järkevä mittari. Se ei ota huomioon automaatioon tai taustaprosesseihin siirrettyä palvelua, eli käytännössä asiointitarpeen poistamista.</a:t>
            </a:r>
          </a:p>
          <a:p>
            <a:pPr marL="0" indent="0">
              <a:buFontTx/>
              <a:buNone/>
            </a:pPr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EU tekemä Open Data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urity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avertailu (https://data.europa.eu/sites/default/files/edp_landscaping_insight_report_n6_2020.pdf) olisi hyvä ottaa tähän mittariksi. Vuonna 2020 Suomi oli sijalla 14. -&gt; toimenpiteese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Tässäkin voisi hyödyntää ensin kansainvälistä tutkimusta siitä, mitä Suomi ei ole tehnyt verrattaessa muihin EU maihin. Meillä oli vielä 5 vuotta sitten kärkiasema, mutta ei ole enää. Muut maat ovat menneet ohi. </a:t>
            </a:r>
            <a:r>
              <a:rPr lang="fi-FI" sz="12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data.europa.eu/sites/default/files/edp_landscaping_insight_report_n6_2020.pdf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&gt; toimenpiteeseen</a:t>
            </a:r>
          </a:p>
          <a:p>
            <a:endParaRPr lang="fi-FI" dirty="0" smtClean="0"/>
          </a:p>
          <a:p>
            <a:pPr marL="0" indent="0">
              <a:buFontTx/>
              <a:buNone/>
            </a:pP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Mittari hyvinvointiin esitetty useassa lausunnossa: </a:t>
            </a:r>
          </a:p>
          <a:p>
            <a:pPr marL="0" indent="0">
              <a:buFontTx/>
              <a:buNone/>
            </a:pP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s://www.oecd.org/statistics/measuring-well-being-and-progress.htm </a:t>
            </a:r>
          </a:p>
          <a:p>
            <a:pPr marL="0" indent="0">
              <a:buFontTx/>
              <a:buNone/>
            </a:pPr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Tx/>
              <a:buNone/>
            </a:pP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tter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ife Index?</a:t>
            </a:r>
          </a:p>
          <a:p>
            <a:pPr marL="0" indent="0">
              <a:buFontTx/>
              <a:buNone/>
            </a:pP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://www.oecdbetterlifeindex.org/#/11111111111</a:t>
            </a:r>
          </a:p>
          <a:p>
            <a:pPr marL="0" indent="0">
              <a:buFontTx/>
              <a:buNone/>
            </a:pPr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s://worldhappiness.report/faq/ </a:t>
            </a:r>
          </a:p>
          <a:p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ue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llar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yöntekijöiden mahdollisuudet uuteen työhön, OECD:n maaraportti</a:t>
            </a:r>
          </a:p>
          <a:p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KR5: pitäisi olla EUROMÄÄRÄINEN tavoite, ei niin että kun BKT nousee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im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nistuneiden ICT-yritysten kansainvälisen menestyksen ansiosta, niin saadaan "lupa" taas paisuttaa julkishallintoa - koska % osuus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KT:sta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ittarina. </a:t>
            </a: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Tulisiko esim. tehokkuuden osalta seurata myös siihen vaikuttavia tekijöitä (esim. KR5: vaikka ”oikea tehokkuus” kasvaisi tai pysyisi ennallaan, jos BKT pienenee, pienenee myös valittu julkisen tehokkuuden mittari).</a:t>
            </a:r>
            <a:r>
              <a:rPr lang="fi-FI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ttareiden osalta voisi olla hyvä pohtia (myös) mitkä ovat sellaisia asioita, joihin voidaan (ja mikä taho) vaikuttaa. Miten tavoitteet / mittarit tasapainotetaan? Jatkossa myös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stuutukset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vaikutusmahdollisuudet.</a:t>
            </a:r>
          </a:p>
          <a:p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KR6 mittari voisi ainakin osin liittyä julkisen ja yksityisen sektorin yhteisrahoituksen alaisiin (kasvu)hankkeisiin</a:t>
            </a:r>
          </a:p>
          <a:p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hjelmistorobotiikan</a:t>
            </a:r>
            <a:r>
              <a:rPr lang="fi-FI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äyttö:</a:t>
            </a:r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s://www.palkeet.fi/yhdessa-kehittaen/digitalisaatio</a:t>
            </a:r>
          </a:p>
          <a:p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ilvipalveluiden</a:t>
            </a:r>
            <a:r>
              <a:rPr lang="fi-FI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äyttö? https://julkaisut.valtioneuvosto.fi/bitstream/handle/10024/162451/VM_2020_66.pdf?sequence=4&amp;isAllowed=y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286448-0962-443A-A7A6-40140D0BD552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3187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fi-FI" dirty="0" smtClean="0"/>
              <a:t>-Ehdotettu lisättäväksi mittari</a:t>
            </a:r>
            <a:r>
              <a:rPr lang="fi-FI" baseline="0" dirty="0" smtClean="0"/>
              <a:t> 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rautumisen ja huoltovarmuuden osalta,</a:t>
            </a:r>
            <a:r>
              <a:rPr lang="fi-FI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i mittariehdotusta</a:t>
            </a:r>
          </a:p>
          <a:p>
            <a:pPr marL="0" indent="0">
              <a:buFontTx/>
              <a:buNone/>
            </a:pPr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ECD:ll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reen Growth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ttari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?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286448-0962-443A-A7A6-40140D0BD552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11943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B8D2F0-F551-44C2-A65F-18E882F6DDBA}" type="slidenum">
              <a:rPr lang="fi-FI" smtClean="0"/>
              <a:t>2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553529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B8D2F0-F551-44C2-A65F-18E882F6DDBA}" type="slidenum">
              <a:rPr lang="fi-FI" smtClean="0"/>
              <a:t>2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359156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B8D2F0-F551-44C2-A65F-18E882F6DDBA}" type="slidenum">
              <a:rPr lang="fi-FI" smtClean="0"/>
              <a:t>28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301409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B8D2F0-F551-44C2-A65F-18E882F6DDBA}" type="slidenum">
              <a:rPr lang="fi-FI" smtClean="0"/>
              <a:t>30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642565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tumm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9B432168-221C-4229-ABD4-620A83233A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6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tekstillinen 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320" y="306000"/>
            <a:ext cx="5025648" cy="1325563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/>
              <a:t>Tekstisivu kuvalla, </a:t>
            </a:r>
            <a:br>
              <a:rPr lang="fi-FI" dirty="0"/>
            </a:br>
            <a:r>
              <a:rPr lang="fi-FI" dirty="0"/>
              <a:t>lyhyt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5025648" cy="4248000"/>
          </a:xfrm>
        </p:spPr>
        <p:txBody>
          <a:bodyPr/>
          <a:lstStyle>
            <a:lvl1pPr marL="269875" indent="-269875">
              <a:defRPr sz="2200"/>
            </a:lvl1pPr>
            <a:lvl2pPr marL="625475" indent="-265113">
              <a:defRPr/>
            </a:lvl2pPr>
            <a:lvl3pPr marL="715962" indent="0">
              <a:buNone/>
              <a:defRPr/>
            </a:lvl3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Kuvan paikkamerkki 19">
            <a:extLst>
              <a:ext uri="{FF2B5EF4-FFF2-40B4-BE49-F238E27FC236}">
                <a16:creationId xmlns:a16="http://schemas.microsoft.com/office/drawing/2014/main" id="{1CD34E48-431E-47C9-8075-E449B22F1C1A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3461" y="-4484"/>
            <a:ext cx="6086310" cy="6866965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6086309"/>
              <a:gd name="connsiteY0" fmla="*/ 4483 h 6862483"/>
              <a:gd name="connsiteX1" fmla="*/ 6086309 w 6086309"/>
              <a:gd name="connsiteY1" fmla="*/ 0 h 6862483"/>
              <a:gd name="connsiteX2" fmla="*/ 4087180 w 6086309"/>
              <a:gd name="connsiteY2" fmla="*/ 6862483 h 6862483"/>
              <a:gd name="connsiteX3" fmla="*/ 655475 w 6086309"/>
              <a:gd name="connsiteY3" fmla="*/ 6862483 h 6862483"/>
              <a:gd name="connsiteX4" fmla="*/ 5 w 6086309"/>
              <a:gd name="connsiteY4" fmla="*/ 3409885 h 6862483"/>
              <a:gd name="connsiteX5" fmla="*/ 655475 w 6086309"/>
              <a:gd name="connsiteY5" fmla="*/ 4483 h 6862483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86310" h="6866965">
                <a:moveTo>
                  <a:pt x="655475" y="4483"/>
                </a:moveTo>
                <a:lnTo>
                  <a:pt x="6086309" y="0"/>
                </a:lnTo>
                <a:cubicBezTo>
                  <a:pt x="6086309" y="2288988"/>
                  <a:pt x="6086310" y="4577977"/>
                  <a:pt x="6086310" y="6866965"/>
                </a:cubicBezTo>
                <a:lnTo>
                  <a:pt x="655475" y="6862483"/>
                </a:lnTo>
                <a:cubicBezTo>
                  <a:pt x="198241" y="5584022"/>
                  <a:pt x="-1047" y="4542725"/>
                  <a:pt x="5" y="3409885"/>
                </a:cubicBezTo>
                <a:cubicBezTo>
                  <a:pt x="1057" y="2277045"/>
                  <a:pt x="220670" y="999399"/>
                  <a:pt x="655475" y="4483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9700E9CE-DAC8-4704-A149-43A60B27A84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22E9968-6017-4856-A4C4-E7595C39E8B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2150158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yhmä 17">
            <a:extLst>
              <a:ext uri="{FF2B5EF4-FFF2-40B4-BE49-F238E27FC236}">
                <a16:creationId xmlns:a16="http://schemas.microsoft.com/office/drawing/2014/main" id="{BF83FD59-B2EE-42A4-AC03-53869A1132E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0"/>
            <a:ext cx="12193200" cy="6858000"/>
            <a:chOff x="166688" y="158750"/>
            <a:chExt cx="12163425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52F1267F-7172-44B3-9A7E-906E5E4A0F8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1652588"/>
              <a:ext cx="4445000" cy="5351463"/>
            </a:xfrm>
            <a:custGeom>
              <a:avLst/>
              <a:gdLst>
                <a:gd name="T0" fmla="*/ 24755 w 24755"/>
                <a:gd name="T1" fmla="*/ 0 h 29783"/>
                <a:gd name="T2" fmla="*/ 12889 w 24755"/>
                <a:gd name="T3" fmla="*/ 9835 h 29783"/>
                <a:gd name="T4" fmla="*/ 0 w 24755"/>
                <a:gd name="T5" fmla="*/ 29783 h 29783"/>
                <a:gd name="T6" fmla="*/ 24755 w 24755"/>
                <a:gd name="T7" fmla="*/ 29783 h 29783"/>
                <a:gd name="T8" fmla="*/ 24755 w 24755"/>
                <a:gd name="T9" fmla="*/ 0 h 29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55" h="29783">
                  <a:moveTo>
                    <a:pt x="24755" y="0"/>
                  </a:moveTo>
                  <a:cubicBezTo>
                    <a:pt x="20509" y="2731"/>
                    <a:pt x="16519" y="6009"/>
                    <a:pt x="12889" y="9835"/>
                  </a:cubicBezTo>
                  <a:cubicBezTo>
                    <a:pt x="7462" y="15544"/>
                    <a:pt x="3054" y="22280"/>
                    <a:pt x="0" y="29783"/>
                  </a:cubicBezTo>
                  <a:lnTo>
                    <a:pt x="24755" y="29783"/>
                  </a:lnTo>
                  <a:lnTo>
                    <a:pt x="24755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3FDD5063-1FA4-49AC-88A8-BBD3F632236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2028825"/>
              <a:ext cx="12163425" cy="4975225"/>
            </a:xfrm>
            <a:custGeom>
              <a:avLst/>
              <a:gdLst>
                <a:gd name="T0" fmla="*/ 67733 w 67733"/>
                <a:gd name="T1" fmla="*/ 15074 h 27696"/>
                <a:gd name="T2" fmla="*/ 55867 w 67733"/>
                <a:gd name="T3" fmla="*/ 7748 h 27696"/>
                <a:gd name="T4" fmla="*/ 16534 w 67733"/>
                <a:gd name="T5" fmla="*/ 2570 h 27696"/>
                <a:gd name="T6" fmla="*/ 0 w 67733"/>
                <a:gd name="T7" fmla="*/ 8021 h 27696"/>
                <a:gd name="T8" fmla="*/ 0 w 67733"/>
                <a:gd name="T9" fmla="*/ 27696 h 27696"/>
                <a:gd name="T10" fmla="*/ 67733 w 67733"/>
                <a:gd name="T11" fmla="*/ 27696 h 27696"/>
                <a:gd name="T12" fmla="*/ 67733 w 67733"/>
                <a:gd name="T13" fmla="*/ 15074 h 27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7696">
                  <a:moveTo>
                    <a:pt x="67733" y="15074"/>
                  </a:moveTo>
                  <a:cubicBezTo>
                    <a:pt x="64127" y="12264"/>
                    <a:pt x="60164" y="9798"/>
                    <a:pt x="55867" y="7748"/>
                  </a:cubicBezTo>
                  <a:cubicBezTo>
                    <a:pt x="44048" y="2099"/>
                    <a:pt x="30400" y="0"/>
                    <a:pt x="16534" y="2570"/>
                  </a:cubicBezTo>
                  <a:cubicBezTo>
                    <a:pt x="10848" y="3619"/>
                    <a:pt x="5281" y="5438"/>
                    <a:pt x="0" y="8021"/>
                  </a:cubicBezTo>
                  <a:lnTo>
                    <a:pt x="0" y="27696"/>
                  </a:lnTo>
                  <a:lnTo>
                    <a:pt x="67733" y="27696"/>
                  </a:lnTo>
                  <a:lnTo>
                    <a:pt x="67733" y="1507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7D958EC3-4B66-4A2A-814C-45DFD9E57F7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748588" y="158750"/>
              <a:ext cx="3668713" cy="3260725"/>
            </a:xfrm>
            <a:custGeom>
              <a:avLst/>
              <a:gdLst>
                <a:gd name="T0" fmla="*/ 0 w 20424"/>
                <a:gd name="T1" fmla="*/ 0 h 18152"/>
                <a:gd name="T2" fmla="*/ 2651 w 20424"/>
                <a:gd name="T3" fmla="*/ 7721 h 18152"/>
                <a:gd name="T4" fmla="*/ 13643 w 20424"/>
                <a:gd name="T5" fmla="*/ 18152 h 18152"/>
                <a:gd name="T6" fmla="*/ 20167 w 20424"/>
                <a:gd name="T7" fmla="*/ 4475 h 18152"/>
                <a:gd name="T8" fmla="*/ 20347 w 20424"/>
                <a:gd name="T9" fmla="*/ 0 h 18152"/>
                <a:gd name="T10" fmla="*/ 0 w 20424"/>
                <a:gd name="T11" fmla="*/ 0 h 18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24" h="18152">
                  <a:moveTo>
                    <a:pt x="0" y="0"/>
                  </a:moveTo>
                  <a:cubicBezTo>
                    <a:pt x="433" y="2635"/>
                    <a:pt x="1305" y="5243"/>
                    <a:pt x="2651" y="7721"/>
                  </a:cubicBezTo>
                  <a:cubicBezTo>
                    <a:pt x="5035" y="12120"/>
                    <a:pt x="8781" y="15833"/>
                    <a:pt x="13643" y="18152"/>
                  </a:cubicBezTo>
                  <a:cubicBezTo>
                    <a:pt x="17090" y="14526"/>
                    <a:pt x="19464" y="9815"/>
                    <a:pt x="20167" y="4475"/>
                  </a:cubicBezTo>
                  <a:cubicBezTo>
                    <a:pt x="20362" y="2999"/>
                    <a:pt x="20424" y="1501"/>
                    <a:pt x="2034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6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F647EA55-DBDB-4E2D-AD6D-F126CFACA5F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3419475"/>
              <a:ext cx="4445000" cy="3584575"/>
            </a:xfrm>
            <a:custGeom>
              <a:avLst/>
              <a:gdLst>
                <a:gd name="T0" fmla="*/ 24755 w 24755"/>
                <a:gd name="T1" fmla="*/ 7326 h 19948"/>
                <a:gd name="T2" fmla="*/ 12889 w 24755"/>
                <a:gd name="T3" fmla="*/ 0 h 19948"/>
                <a:gd name="T4" fmla="*/ 12889 w 24755"/>
                <a:gd name="T5" fmla="*/ 0 h 19948"/>
                <a:gd name="T6" fmla="*/ 12889 w 24755"/>
                <a:gd name="T7" fmla="*/ 0 h 19948"/>
                <a:gd name="T8" fmla="*/ 0 w 24755"/>
                <a:gd name="T9" fmla="*/ 19948 h 19948"/>
                <a:gd name="T10" fmla="*/ 24755 w 24755"/>
                <a:gd name="T11" fmla="*/ 19948 h 19948"/>
                <a:gd name="T12" fmla="*/ 24755 w 24755"/>
                <a:gd name="T13" fmla="*/ 7326 h 19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755" h="19948">
                  <a:moveTo>
                    <a:pt x="24755" y="7326"/>
                  </a:moveTo>
                  <a:cubicBezTo>
                    <a:pt x="21149" y="4516"/>
                    <a:pt x="17186" y="205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7462" y="5709"/>
                    <a:pt x="3054" y="12445"/>
                    <a:pt x="0" y="19948"/>
                  </a:cubicBezTo>
                  <a:lnTo>
                    <a:pt x="24755" y="19948"/>
                  </a:lnTo>
                  <a:lnTo>
                    <a:pt x="24755" y="7326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24AB4DAC-943D-40D7-9EED-76F69D6845E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199688" y="1652588"/>
              <a:ext cx="2130425" cy="2232025"/>
            </a:xfrm>
            <a:custGeom>
              <a:avLst/>
              <a:gdLst>
                <a:gd name="T0" fmla="*/ 11866 w 11866"/>
                <a:gd name="T1" fmla="*/ 0 h 12419"/>
                <a:gd name="T2" fmla="*/ 0 w 11866"/>
                <a:gd name="T3" fmla="*/ 9835 h 12419"/>
                <a:gd name="T4" fmla="*/ 0 w 11866"/>
                <a:gd name="T5" fmla="*/ 9835 h 12419"/>
                <a:gd name="T6" fmla="*/ 0 w 11866"/>
                <a:gd name="T7" fmla="*/ 9835 h 12419"/>
                <a:gd name="T8" fmla="*/ 11866 w 11866"/>
                <a:gd name="T9" fmla="*/ 12190 h 12419"/>
                <a:gd name="T10" fmla="*/ 11866 w 11866"/>
                <a:gd name="T11" fmla="*/ 0 h 12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66" h="12419">
                  <a:moveTo>
                    <a:pt x="11866" y="0"/>
                  </a:moveTo>
                  <a:cubicBezTo>
                    <a:pt x="7620" y="2731"/>
                    <a:pt x="3630" y="6009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3613" y="11562"/>
                    <a:pt x="7674" y="12419"/>
                    <a:pt x="11866" y="12190"/>
                  </a:cubicBezTo>
                  <a:lnTo>
                    <a:pt x="11866" y="0"/>
                  </a:ln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091207B8-FCA3-4AF6-8D9D-ED83A74F3C4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36901" y="2028825"/>
              <a:ext cx="7062788" cy="2867025"/>
            </a:xfrm>
            <a:custGeom>
              <a:avLst/>
              <a:gdLst>
                <a:gd name="T0" fmla="*/ 0 w 39333"/>
                <a:gd name="T1" fmla="*/ 2570 h 15960"/>
                <a:gd name="T2" fmla="*/ 0 w 39333"/>
                <a:gd name="T3" fmla="*/ 2570 h 15960"/>
                <a:gd name="T4" fmla="*/ 10992 w 39333"/>
                <a:gd name="T5" fmla="*/ 13001 h 15960"/>
                <a:gd name="T6" fmla="*/ 26016 w 39333"/>
                <a:gd name="T7" fmla="*/ 14979 h 15960"/>
                <a:gd name="T8" fmla="*/ 39333 w 39333"/>
                <a:gd name="T9" fmla="*/ 7748 h 15960"/>
                <a:gd name="T10" fmla="*/ 39333 w 39333"/>
                <a:gd name="T11" fmla="*/ 7748 h 15960"/>
                <a:gd name="T12" fmla="*/ 39333 w 39333"/>
                <a:gd name="T13" fmla="*/ 7748 h 15960"/>
                <a:gd name="T14" fmla="*/ 0 w 39333"/>
                <a:gd name="T15" fmla="*/ 2570 h 15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333" h="15960">
                  <a:moveTo>
                    <a:pt x="0" y="2570"/>
                  </a:moveTo>
                  <a:cubicBezTo>
                    <a:pt x="0" y="2570"/>
                    <a:pt x="0" y="2570"/>
                    <a:pt x="0" y="2570"/>
                  </a:cubicBezTo>
                  <a:cubicBezTo>
                    <a:pt x="2384" y="6969"/>
                    <a:pt x="6130" y="10682"/>
                    <a:pt x="10992" y="13001"/>
                  </a:cubicBezTo>
                  <a:cubicBezTo>
                    <a:pt x="15506" y="15159"/>
                    <a:pt x="20720" y="15960"/>
                    <a:pt x="26016" y="14979"/>
                  </a:cubicBezTo>
                  <a:cubicBezTo>
                    <a:pt x="30936" y="14071"/>
                    <a:pt x="35625" y="11655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27514" y="2099"/>
                    <a:pt x="13866" y="0"/>
                    <a:pt x="0" y="2570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2059289" y="2996952"/>
            <a:ext cx="4455881" cy="1572384"/>
          </a:xfrm>
        </p:spPr>
        <p:txBody>
          <a:bodyPr anchor="b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tähän kiitosteksti tai </a:t>
            </a:r>
            <a:r>
              <a:rPr lang="fi-FI" dirty="0" err="1"/>
              <a:t>lopetuskehoitus</a:t>
            </a:r>
            <a:endParaRPr lang="fi-FI" dirty="0"/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59290" y="4822552"/>
            <a:ext cx="2236510" cy="749149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etunimi.sukunimi@vm.fi </a:t>
            </a:r>
            <a:r>
              <a:rPr lang="es-ES" dirty="0" err="1"/>
              <a:t>Loremipsum</a:t>
            </a:r>
            <a:r>
              <a:rPr lang="es-ES" dirty="0"/>
              <a:t> dolores </a:t>
            </a:r>
            <a:r>
              <a:rPr lang="es-ES" dirty="0" err="1"/>
              <a:t>sitamet</a:t>
            </a:r>
            <a:r>
              <a:rPr lang="es-ES" dirty="0"/>
              <a:t> vm.fi</a:t>
            </a:r>
            <a:endParaRPr lang="fi-FI" dirty="0"/>
          </a:p>
        </p:txBody>
      </p:sp>
      <p:pic>
        <p:nvPicPr>
          <p:cNvPr id="15" name="Kuva 14">
            <a:extLst>
              <a:ext uri="{FF2B5EF4-FFF2-40B4-BE49-F238E27FC236}">
                <a16:creationId xmlns:a16="http://schemas.microsoft.com/office/drawing/2014/main" id="{6E19D34C-D51B-407C-A1A6-BB6CEEC5DDF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07136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tumm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9B432168-221C-4229-ABD4-620A83233A3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775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5AB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ADD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vaale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3606673C-8E2D-462A-8FED-E7C3DAE7F60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72816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Kuva 18" descr="Kuva, joka sisältää kohteen henkilö, sisä, mies, pöytä">
            <a:extLst>
              <a:ext uri="{FF2B5EF4-FFF2-40B4-BE49-F238E27FC236}">
                <a16:creationId xmlns:a16="http://schemas.microsoft.com/office/drawing/2014/main" id="{7FFB4FBC-1765-4F80-9F01-A708CFC6118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7581" y="973267"/>
            <a:ext cx="5105619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0039928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Kuva 19" descr="Nuori tyttö käyttää tietokonetta">
            <a:extLst>
              <a:ext uri="{FF2B5EF4-FFF2-40B4-BE49-F238E27FC236}">
                <a16:creationId xmlns:a16="http://schemas.microsoft.com/office/drawing/2014/main" id="{E658BAF6-19C4-470B-B394-894A756A0CD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91867" y="973267"/>
            <a:ext cx="5101333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2315539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. </a:t>
            </a:r>
            <a:br>
              <a:rPr lang="fi-FI" dirty="0"/>
            </a:br>
            <a:r>
              <a:rPr lang="fi-FI" dirty="0"/>
              <a:t>Otsikon pituus korkeintaan kaksi riviä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77F5A965-5012-417E-A4D7-9CB8DE3A3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D9E0DD3D-67FB-4C7B-917A-622EAB8FF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651633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ot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 väliotsikolla.</a:t>
            </a:r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0904BD93-F0C4-4A6C-9010-5804694C71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1050" y="1758315"/>
            <a:ext cx="10571163" cy="446549"/>
          </a:xfrm>
        </p:spPr>
        <p:txBody>
          <a:bodyPr/>
          <a:lstStyle>
            <a:lvl1pPr marL="0" indent="0">
              <a:buNone/>
              <a:defRPr b="1"/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Väli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2285999"/>
            <a:ext cx="10571480" cy="3724761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6ADF7489-4677-49C3-A1B0-538615DB37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CDDDB65-8BD7-43F3-A41C-27411B8405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1594682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kaksipalstainen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1764323"/>
            <a:ext cx="5156538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1764323"/>
            <a:ext cx="5187462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4308238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vertailu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7" name="Tekstin paikkamerkki 2">
            <a:extLst>
              <a:ext uri="{FF2B5EF4-FFF2-40B4-BE49-F238E27FC236}">
                <a16:creationId xmlns:a16="http://schemas.microsoft.com/office/drawing/2014/main" id="{CC5AFB07-741E-400C-B07F-CFAD1C24366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781201" y="1764323"/>
            <a:ext cx="515653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2235200"/>
            <a:ext cx="5156538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Tekstin paikkamerkki 4">
            <a:extLst>
              <a:ext uri="{FF2B5EF4-FFF2-40B4-BE49-F238E27FC236}">
                <a16:creationId xmlns:a16="http://schemas.microsoft.com/office/drawing/2014/main" id="{FE13A6AE-0F0A-413E-AE09-F64745829C8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764323"/>
            <a:ext cx="518318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2235200"/>
            <a:ext cx="5187462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5921297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Grafiikkasivu, kuva ja tekstitiivistelmä vierekkäin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6164822" cy="42480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Tekstin paikkamerkki 22">
            <a:extLst>
              <a:ext uri="{FF2B5EF4-FFF2-40B4-BE49-F238E27FC236}">
                <a16:creationId xmlns:a16="http://schemas.microsoft.com/office/drawing/2014/main" id="{3031A60E-285E-4799-8337-B7C931123A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26518" y="1959997"/>
            <a:ext cx="4286106" cy="3802327"/>
          </a:xfrm>
        </p:spPr>
        <p:txBody>
          <a:bodyPr/>
          <a:lstStyle>
            <a:lvl1pPr marL="269875" indent="-269875">
              <a:lnSpc>
                <a:spcPct val="95000"/>
              </a:lnSpc>
              <a:defRPr sz="19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1" name="Alatunnisteen paikkamerkki 10">
            <a:extLst>
              <a:ext uri="{FF2B5EF4-FFF2-40B4-BE49-F238E27FC236}">
                <a16:creationId xmlns:a16="http://schemas.microsoft.com/office/drawing/2014/main" id="{CD9B7E4D-B77A-4CF1-B584-356F4C4B32D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2" name="Dian numeron paikkamerkki 11">
            <a:extLst>
              <a:ext uri="{FF2B5EF4-FFF2-40B4-BE49-F238E27FC236}">
                <a16:creationId xmlns:a16="http://schemas.microsoft.com/office/drawing/2014/main" id="{9B664EFA-778C-4D9B-A7A3-46CB8D5370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840370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415F941-B7C0-48FA-BC12-7B7C22682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Muokkaa perustyyl. napsautt.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7CD8110F-CCB3-4F2C-A24C-583951140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DD1E9F2C-6E23-43A9-A7DE-626D34CED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5800061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tekstillinen 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320" y="306000"/>
            <a:ext cx="5025648" cy="1325563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/>
              <a:t>Tekstisivu kuvalla, </a:t>
            </a:r>
            <a:br>
              <a:rPr lang="fi-FI" dirty="0"/>
            </a:br>
            <a:r>
              <a:rPr lang="fi-FI" dirty="0"/>
              <a:t>lyhyt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5025648" cy="4248000"/>
          </a:xfrm>
        </p:spPr>
        <p:txBody>
          <a:bodyPr/>
          <a:lstStyle>
            <a:lvl1pPr marL="269875" indent="-269875">
              <a:defRPr sz="2200"/>
            </a:lvl1pPr>
            <a:lvl2pPr marL="625475" indent="-265113">
              <a:defRPr/>
            </a:lvl2pPr>
            <a:lvl3pPr marL="715962" indent="0">
              <a:buNone/>
              <a:defRPr/>
            </a:lvl3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Kuvan paikkamerkki 19">
            <a:extLst>
              <a:ext uri="{FF2B5EF4-FFF2-40B4-BE49-F238E27FC236}">
                <a16:creationId xmlns:a16="http://schemas.microsoft.com/office/drawing/2014/main" id="{1CD34E48-431E-47C9-8075-E449B22F1C1A}"/>
              </a:ext>
              <a:ext uri="{C183D7F6-B498-43B3-948B-1728B52AA6E4}">
                <adec:decorative xmlns=""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3461" y="-4484"/>
            <a:ext cx="6086310" cy="6866965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6086309"/>
              <a:gd name="connsiteY0" fmla="*/ 4483 h 6862483"/>
              <a:gd name="connsiteX1" fmla="*/ 6086309 w 6086309"/>
              <a:gd name="connsiteY1" fmla="*/ 0 h 6862483"/>
              <a:gd name="connsiteX2" fmla="*/ 4087180 w 6086309"/>
              <a:gd name="connsiteY2" fmla="*/ 6862483 h 6862483"/>
              <a:gd name="connsiteX3" fmla="*/ 655475 w 6086309"/>
              <a:gd name="connsiteY3" fmla="*/ 6862483 h 6862483"/>
              <a:gd name="connsiteX4" fmla="*/ 5 w 6086309"/>
              <a:gd name="connsiteY4" fmla="*/ 3409885 h 6862483"/>
              <a:gd name="connsiteX5" fmla="*/ 655475 w 6086309"/>
              <a:gd name="connsiteY5" fmla="*/ 4483 h 6862483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86310" h="6866965">
                <a:moveTo>
                  <a:pt x="655475" y="4483"/>
                </a:moveTo>
                <a:lnTo>
                  <a:pt x="6086309" y="0"/>
                </a:lnTo>
                <a:cubicBezTo>
                  <a:pt x="6086309" y="2288988"/>
                  <a:pt x="6086310" y="4577977"/>
                  <a:pt x="6086310" y="6866965"/>
                </a:cubicBezTo>
                <a:lnTo>
                  <a:pt x="655475" y="6862483"/>
                </a:lnTo>
                <a:cubicBezTo>
                  <a:pt x="198241" y="5584022"/>
                  <a:pt x="-1047" y="4542725"/>
                  <a:pt x="5" y="3409885"/>
                </a:cubicBezTo>
                <a:cubicBezTo>
                  <a:pt x="1057" y="2277045"/>
                  <a:pt x="220670" y="999399"/>
                  <a:pt x="655475" y="4483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9700E9CE-DAC8-4704-A149-43A60B27A84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22E9968-6017-4856-A4C4-E7595C39E8B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00284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415F941-B7C0-48FA-BC12-7B7C22682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7CD8110F-CCB3-4F2C-A24C-583951140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DD1E9F2C-6E23-43A9-A7DE-626D34CED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0271900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CBD59BAD-0669-42AB-9904-BB6AA4465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2F973901-92EE-424C-B835-C2D00C6C5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89332771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356350" cy="252698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</a:t>
            </a:r>
            <a:br>
              <a:rPr lang="fi-FI" dirty="0"/>
            </a:br>
            <a:r>
              <a:rPr lang="fi-FI" dirty="0"/>
              <a:t>esityksen </a:t>
            </a:r>
            <a:br>
              <a:rPr lang="fi-FI" dirty="0"/>
            </a:br>
            <a:r>
              <a:rPr lang="fi-FI" dirty="0"/>
              <a:t>jäsentämiseen, </a:t>
            </a:r>
            <a:br>
              <a:rPr lang="fi-FI" dirty="0"/>
            </a:br>
            <a:r>
              <a:rPr lang="fi-FI" dirty="0"/>
              <a:t>4 riviä lyhyellä tekstill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9F8BFF4-EC86-4A85-B914-B241AE572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4F20DE8F-8CBA-4069-B1E4-BBCC9BE8A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2829437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932414" cy="87193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D25FCF1C-6312-4783-B492-30778B19C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5" name="Dian numeron paikkamerkki 14">
            <a:extLst>
              <a:ext uri="{FF2B5EF4-FFF2-40B4-BE49-F238E27FC236}">
                <a16:creationId xmlns:a16="http://schemas.microsoft.com/office/drawing/2014/main" id="{B58E6CF3-2C51-4D95-85AA-2F72E91E1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3773887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195567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esityksen </a:t>
            </a:r>
            <a:br>
              <a:rPr lang="fi-FI" dirty="0"/>
            </a:br>
            <a:r>
              <a:rPr lang="fi-FI" dirty="0"/>
              <a:t>jäsentämiseen pitkällä tekstillä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5A33775A-8692-4630-B0A7-351A15032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DBD8842B-CE46-458C-9327-5C7AC4214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7227757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936000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, yksi sana tai 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8311038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213C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0" name="Kuvan paikkamerkki 19">
            <a:extLst>
              <a:ext uri="{FF2B5EF4-FFF2-40B4-BE49-F238E27FC236}">
                <a16:creationId xmlns:a16="http://schemas.microsoft.com/office/drawing/2014/main" id="{8DB9BFF2-C31A-4614-8C44-870E61EDC78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8843764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rakennus, mies, katettu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=""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29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348395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3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tuulimylly, ulko, näkymä, aut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=""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7C376E3-2ABB-974B-9114-E2184E099A4F}"/>
              </a:ext>
            </a:extLst>
          </p:cNvPr>
          <p:cNvSpPr txBox="1"/>
          <p:nvPr userDrawn="1"/>
        </p:nvSpPr>
        <p:spPr>
          <a:xfrm>
            <a:off x="5405163" y="476672"/>
            <a:ext cx="453650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FI" dirty="0">
                <a:solidFill>
                  <a:schemeClr val="bg1"/>
                </a:solidFill>
              </a:rPr>
              <a:t>Tämä kuva pois, tilalle kuvalaatikko</a:t>
            </a:r>
          </a:p>
        </p:txBody>
      </p:sp>
    </p:spTree>
    <p:extLst>
      <p:ext uri="{BB962C8B-B14F-4D97-AF65-F5344CB8AC3E}">
        <p14:creationId xmlns:p14="http://schemas.microsoft.com/office/powerpoint/2010/main" val="28656241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CBD59BAD-0669-42AB-9904-BB6AA4465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2F973901-92EE-424C-B835-C2D00C6C5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6520556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pöytä, istuminen, kirjoituspöytä, tietokone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="" xmlns:adec="http://schemas.microsoft.com/office/drawing/2017/decorative" val="0"/>
              </a:ext>
            </a:extLst>
          </p:cNvPr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22000" cy="6858000"/>
          </a:xfrm>
          <a:prstGeom prst="rect">
            <a:avLst/>
          </a:prstGeom>
        </p:spPr>
      </p:pic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933134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1">
            <a:extLst>
              <a:ext uri="{FF2B5EF4-FFF2-40B4-BE49-F238E27FC236}">
                <a16:creationId xmlns:a16="http://schemas.microsoft.com/office/drawing/2014/main" id="{A9699318-17A8-4406-8545-15EC6D0D763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Kuvan paikkamerkki 19">
            <a:extLst>
              <a:ext uri="{FF2B5EF4-FFF2-40B4-BE49-F238E27FC236}">
                <a16:creationId xmlns:a16="http://schemas.microsoft.com/office/drawing/2014/main" id="{C20D1C9F-02E1-4C00-846A-9CC67CA2EDE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7604248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sp>
        <p:nvSpPr>
          <p:cNvPr id="17" name="Kuvan paikkamerkki 19">
            <a:extLst>
              <a:ext uri="{FF2B5EF4-FFF2-40B4-BE49-F238E27FC236}">
                <a16:creationId xmlns:a16="http://schemas.microsoft.com/office/drawing/2014/main" id="{79A4B3D4-F743-4ABE-BF43-A842D73C48B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9339261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piiri, hiihtäminen, kell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=""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30" y="0"/>
            <a:ext cx="4108704" cy="6858000"/>
          </a:xfrm>
          <a:prstGeom prst="rect">
            <a:avLst/>
          </a:prstGeom>
        </p:spPr>
      </p:pic>
      <p:sp>
        <p:nvSpPr>
          <p:cNvPr id="24" name="Freeform 10">
            <a:extLst>
              <a:ext uri="{FF2B5EF4-FFF2-40B4-BE49-F238E27FC236}">
                <a16:creationId xmlns:a16="http://schemas.microsoft.com/office/drawing/2014/main" id="{E5B9F0F0-2539-458B-AAF7-535BE5D78F43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8756990" cy="6857999"/>
          </a:xfrm>
          <a:custGeom>
            <a:avLst/>
            <a:gdLst>
              <a:gd name="T0" fmla="*/ 0 w 48666"/>
              <a:gd name="T1" fmla="*/ 38100 h 38100"/>
              <a:gd name="T2" fmla="*/ 48666 w 48666"/>
              <a:gd name="T3" fmla="*/ 38100 h 38100"/>
              <a:gd name="T4" fmla="*/ 46174 w 48666"/>
              <a:gd name="T5" fmla="*/ 29774 h 38100"/>
              <a:gd name="T6" fmla="*/ 46174 w 48666"/>
              <a:gd name="T7" fmla="*/ 29774 h 38100"/>
              <a:gd name="T8" fmla="*/ 48657 w 48666"/>
              <a:gd name="T9" fmla="*/ 0 h 38100"/>
              <a:gd name="T10" fmla="*/ 0 w 48666"/>
              <a:gd name="T11" fmla="*/ 0 h 38100"/>
              <a:gd name="T12" fmla="*/ 0 w 48666"/>
              <a:gd name="T13" fmla="*/ 38100 h 38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666" h="38100">
                <a:moveTo>
                  <a:pt x="0" y="38100"/>
                </a:moveTo>
                <a:lnTo>
                  <a:pt x="48666" y="38100"/>
                </a:lnTo>
                <a:cubicBezTo>
                  <a:pt x="47620" y="35440"/>
                  <a:pt x="46781" y="32661"/>
                  <a:pt x="46174" y="29774"/>
                </a:cubicBezTo>
                <a:lnTo>
                  <a:pt x="46174" y="29774"/>
                </a:lnTo>
                <a:cubicBezTo>
                  <a:pt x="44128" y="20120"/>
                  <a:pt x="44799" y="9795"/>
                  <a:pt x="48657" y="0"/>
                </a:cubicBez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365AB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230597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743A037A-3296-40C2-9074-84427B0EB2B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6756211" cy="6858000"/>
            <a:chOff x="2724150" y="6350"/>
            <a:chExt cx="6743700" cy="6845301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89334710-4573-413A-9371-58D53E96403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6350"/>
              <a:ext cx="6743700" cy="6845300"/>
            </a:xfrm>
            <a:custGeom>
              <a:avLst/>
              <a:gdLst>
                <a:gd name="T0" fmla="*/ 37531 w 37531"/>
                <a:gd name="T1" fmla="*/ 38100 h 38100"/>
                <a:gd name="T2" fmla="*/ 35005 w 37531"/>
                <a:gd name="T3" fmla="*/ 29739 h 38100"/>
                <a:gd name="T4" fmla="*/ 37500 w 37531"/>
                <a:gd name="T5" fmla="*/ 0 h 38100"/>
                <a:gd name="T6" fmla="*/ 0 w 37531"/>
                <a:gd name="T7" fmla="*/ 0 h 38100"/>
                <a:gd name="T8" fmla="*/ 0 w 37531"/>
                <a:gd name="T9" fmla="*/ 38100 h 38100"/>
                <a:gd name="T10" fmla="*/ 37531 w 37531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531" h="38100">
                  <a:moveTo>
                    <a:pt x="37531" y="38100"/>
                  </a:moveTo>
                  <a:cubicBezTo>
                    <a:pt x="36473" y="35432"/>
                    <a:pt x="35622" y="32640"/>
                    <a:pt x="35005" y="29739"/>
                  </a:cubicBezTo>
                  <a:cubicBezTo>
                    <a:pt x="32947" y="20093"/>
                    <a:pt x="33623" y="9779"/>
                    <a:pt x="37500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37531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025CC1E-66FA-4412-98F7-D19894F2D9B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4011613"/>
              <a:ext cx="6443663" cy="2840038"/>
            </a:xfrm>
            <a:custGeom>
              <a:avLst/>
              <a:gdLst>
                <a:gd name="T0" fmla="*/ 35867 w 35867"/>
                <a:gd name="T1" fmla="*/ 15808 h 15808"/>
                <a:gd name="T2" fmla="*/ 0 w 35867"/>
                <a:gd name="T3" fmla="*/ 0 h 15808"/>
                <a:gd name="T4" fmla="*/ 0 w 35867"/>
                <a:gd name="T5" fmla="*/ 15808 h 15808"/>
                <a:gd name="T6" fmla="*/ 35867 w 35867"/>
                <a:gd name="T7" fmla="*/ 15808 h 15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867" h="15808">
                  <a:moveTo>
                    <a:pt x="35867" y="15808"/>
                  </a:moveTo>
                  <a:cubicBezTo>
                    <a:pt x="24829" y="8026"/>
                    <a:pt x="12618" y="2772"/>
                    <a:pt x="0" y="0"/>
                  </a:cubicBezTo>
                  <a:lnTo>
                    <a:pt x="0" y="15808"/>
                  </a:lnTo>
                  <a:lnTo>
                    <a:pt x="35867" y="1580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4916190" cy="180803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Asianostosivu </a:t>
            </a:r>
            <a:br>
              <a:rPr lang="fi-FI" dirty="0"/>
            </a:br>
            <a:r>
              <a:rPr lang="fi-FI" dirty="0"/>
              <a:t>esityksen jäsentämiseen, 3 rivin otsikko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53880" y="1514325"/>
            <a:ext cx="4658744" cy="4248000"/>
          </a:xfrm>
        </p:spPr>
        <p:txBody>
          <a:bodyPr/>
          <a:lstStyle>
            <a:lvl1pPr marL="269875" indent="-269875">
              <a:lnSpc>
                <a:spcPct val="95000"/>
              </a:lnSpc>
              <a:defRPr sz="22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38A531D9-3794-4382-A4CC-D062827D8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E9C40528-505B-4E57-81CB-FA8E7278B7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714465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yhmä 17">
            <a:extLst>
              <a:ext uri="{FF2B5EF4-FFF2-40B4-BE49-F238E27FC236}">
                <a16:creationId xmlns:a16="http://schemas.microsoft.com/office/drawing/2014/main" id="{BF83FD59-B2EE-42A4-AC03-53869A1132E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0" y="0"/>
            <a:ext cx="12193200" cy="6858000"/>
            <a:chOff x="166688" y="158750"/>
            <a:chExt cx="12163425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52F1267F-7172-44B3-9A7E-906E5E4A0F8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1652588"/>
              <a:ext cx="4445000" cy="5351463"/>
            </a:xfrm>
            <a:custGeom>
              <a:avLst/>
              <a:gdLst>
                <a:gd name="T0" fmla="*/ 24755 w 24755"/>
                <a:gd name="T1" fmla="*/ 0 h 29783"/>
                <a:gd name="T2" fmla="*/ 12889 w 24755"/>
                <a:gd name="T3" fmla="*/ 9835 h 29783"/>
                <a:gd name="T4" fmla="*/ 0 w 24755"/>
                <a:gd name="T5" fmla="*/ 29783 h 29783"/>
                <a:gd name="T6" fmla="*/ 24755 w 24755"/>
                <a:gd name="T7" fmla="*/ 29783 h 29783"/>
                <a:gd name="T8" fmla="*/ 24755 w 24755"/>
                <a:gd name="T9" fmla="*/ 0 h 29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55" h="29783">
                  <a:moveTo>
                    <a:pt x="24755" y="0"/>
                  </a:moveTo>
                  <a:cubicBezTo>
                    <a:pt x="20509" y="2731"/>
                    <a:pt x="16519" y="6009"/>
                    <a:pt x="12889" y="9835"/>
                  </a:cubicBezTo>
                  <a:cubicBezTo>
                    <a:pt x="7462" y="15544"/>
                    <a:pt x="3054" y="22280"/>
                    <a:pt x="0" y="29783"/>
                  </a:cubicBezTo>
                  <a:lnTo>
                    <a:pt x="24755" y="29783"/>
                  </a:lnTo>
                  <a:lnTo>
                    <a:pt x="24755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3FDD5063-1FA4-49AC-88A8-BBD3F632236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2028825"/>
              <a:ext cx="12163425" cy="4975225"/>
            </a:xfrm>
            <a:custGeom>
              <a:avLst/>
              <a:gdLst>
                <a:gd name="T0" fmla="*/ 67733 w 67733"/>
                <a:gd name="T1" fmla="*/ 15074 h 27696"/>
                <a:gd name="T2" fmla="*/ 55867 w 67733"/>
                <a:gd name="T3" fmla="*/ 7748 h 27696"/>
                <a:gd name="T4" fmla="*/ 16534 w 67733"/>
                <a:gd name="T5" fmla="*/ 2570 h 27696"/>
                <a:gd name="T6" fmla="*/ 0 w 67733"/>
                <a:gd name="T7" fmla="*/ 8021 h 27696"/>
                <a:gd name="T8" fmla="*/ 0 w 67733"/>
                <a:gd name="T9" fmla="*/ 27696 h 27696"/>
                <a:gd name="T10" fmla="*/ 67733 w 67733"/>
                <a:gd name="T11" fmla="*/ 27696 h 27696"/>
                <a:gd name="T12" fmla="*/ 67733 w 67733"/>
                <a:gd name="T13" fmla="*/ 15074 h 27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7696">
                  <a:moveTo>
                    <a:pt x="67733" y="15074"/>
                  </a:moveTo>
                  <a:cubicBezTo>
                    <a:pt x="64127" y="12264"/>
                    <a:pt x="60164" y="9798"/>
                    <a:pt x="55867" y="7748"/>
                  </a:cubicBezTo>
                  <a:cubicBezTo>
                    <a:pt x="44048" y="2099"/>
                    <a:pt x="30400" y="0"/>
                    <a:pt x="16534" y="2570"/>
                  </a:cubicBezTo>
                  <a:cubicBezTo>
                    <a:pt x="10848" y="3619"/>
                    <a:pt x="5281" y="5438"/>
                    <a:pt x="0" y="8021"/>
                  </a:cubicBezTo>
                  <a:lnTo>
                    <a:pt x="0" y="27696"/>
                  </a:lnTo>
                  <a:lnTo>
                    <a:pt x="67733" y="27696"/>
                  </a:lnTo>
                  <a:lnTo>
                    <a:pt x="67733" y="1507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7D958EC3-4B66-4A2A-814C-45DFD9E57F7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748588" y="158750"/>
              <a:ext cx="3668713" cy="3260725"/>
            </a:xfrm>
            <a:custGeom>
              <a:avLst/>
              <a:gdLst>
                <a:gd name="T0" fmla="*/ 0 w 20424"/>
                <a:gd name="T1" fmla="*/ 0 h 18152"/>
                <a:gd name="T2" fmla="*/ 2651 w 20424"/>
                <a:gd name="T3" fmla="*/ 7721 h 18152"/>
                <a:gd name="T4" fmla="*/ 13643 w 20424"/>
                <a:gd name="T5" fmla="*/ 18152 h 18152"/>
                <a:gd name="T6" fmla="*/ 20167 w 20424"/>
                <a:gd name="T7" fmla="*/ 4475 h 18152"/>
                <a:gd name="T8" fmla="*/ 20347 w 20424"/>
                <a:gd name="T9" fmla="*/ 0 h 18152"/>
                <a:gd name="T10" fmla="*/ 0 w 20424"/>
                <a:gd name="T11" fmla="*/ 0 h 18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24" h="18152">
                  <a:moveTo>
                    <a:pt x="0" y="0"/>
                  </a:moveTo>
                  <a:cubicBezTo>
                    <a:pt x="433" y="2635"/>
                    <a:pt x="1305" y="5243"/>
                    <a:pt x="2651" y="7721"/>
                  </a:cubicBezTo>
                  <a:cubicBezTo>
                    <a:pt x="5035" y="12120"/>
                    <a:pt x="8781" y="15833"/>
                    <a:pt x="13643" y="18152"/>
                  </a:cubicBezTo>
                  <a:cubicBezTo>
                    <a:pt x="17090" y="14526"/>
                    <a:pt x="19464" y="9815"/>
                    <a:pt x="20167" y="4475"/>
                  </a:cubicBezTo>
                  <a:cubicBezTo>
                    <a:pt x="20362" y="2999"/>
                    <a:pt x="20424" y="1501"/>
                    <a:pt x="2034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6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F647EA55-DBDB-4E2D-AD6D-F126CFACA5F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3419475"/>
              <a:ext cx="4445000" cy="3584575"/>
            </a:xfrm>
            <a:custGeom>
              <a:avLst/>
              <a:gdLst>
                <a:gd name="T0" fmla="*/ 24755 w 24755"/>
                <a:gd name="T1" fmla="*/ 7326 h 19948"/>
                <a:gd name="T2" fmla="*/ 12889 w 24755"/>
                <a:gd name="T3" fmla="*/ 0 h 19948"/>
                <a:gd name="T4" fmla="*/ 12889 w 24755"/>
                <a:gd name="T5" fmla="*/ 0 h 19948"/>
                <a:gd name="T6" fmla="*/ 12889 w 24755"/>
                <a:gd name="T7" fmla="*/ 0 h 19948"/>
                <a:gd name="T8" fmla="*/ 0 w 24755"/>
                <a:gd name="T9" fmla="*/ 19948 h 19948"/>
                <a:gd name="T10" fmla="*/ 24755 w 24755"/>
                <a:gd name="T11" fmla="*/ 19948 h 19948"/>
                <a:gd name="T12" fmla="*/ 24755 w 24755"/>
                <a:gd name="T13" fmla="*/ 7326 h 19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755" h="19948">
                  <a:moveTo>
                    <a:pt x="24755" y="7326"/>
                  </a:moveTo>
                  <a:cubicBezTo>
                    <a:pt x="21149" y="4516"/>
                    <a:pt x="17186" y="205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7462" y="5709"/>
                    <a:pt x="3054" y="12445"/>
                    <a:pt x="0" y="19948"/>
                  </a:cubicBezTo>
                  <a:lnTo>
                    <a:pt x="24755" y="19948"/>
                  </a:lnTo>
                  <a:lnTo>
                    <a:pt x="24755" y="7326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24AB4DAC-943D-40D7-9EED-76F69D6845E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199688" y="1652588"/>
              <a:ext cx="2130425" cy="2232025"/>
            </a:xfrm>
            <a:custGeom>
              <a:avLst/>
              <a:gdLst>
                <a:gd name="T0" fmla="*/ 11866 w 11866"/>
                <a:gd name="T1" fmla="*/ 0 h 12419"/>
                <a:gd name="T2" fmla="*/ 0 w 11866"/>
                <a:gd name="T3" fmla="*/ 9835 h 12419"/>
                <a:gd name="T4" fmla="*/ 0 w 11866"/>
                <a:gd name="T5" fmla="*/ 9835 h 12419"/>
                <a:gd name="T6" fmla="*/ 0 w 11866"/>
                <a:gd name="T7" fmla="*/ 9835 h 12419"/>
                <a:gd name="T8" fmla="*/ 11866 w 11866"/>
                <a:gd name="T9" fmla="*/ 12190 h 12419"/>
                <a:gd name="T10" fmla="*/ 11866 w 11866"/>
                <a:gd name="T11" fmla="*/ 0 h 12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66" h="12419">
                  <a:moveTo>
                    <a:pt x="11866" y="0"/>
                  </a:moveTo>
                  <a:cubicBezTo>
                    <a:pt x="7620" y="2731"/>
                    <a:pt x="3630" y="6009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3613" y="11562"/>
                    <a:pt x="7674" y="12419"/>
                    <a:pt x="11866" y="12190"/>
                  </a:cubicBezTo>
                  <a:lnTo>
                    <a:pt x="11866" y="0"/>
                  </a:ln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091207B8-FCA3-4AF6-8D9D-ED83A74F3C4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36901" y="2028825"/>
              <a:ext cx="7062788" cy="2867025"/>
            </a:xfrm>
            <a:custGeom>
              <a:avLst/>
              <a:gdLst>
                <a:gd name="T0" fmla="*/ 0 w 39333"/>
                <a:gd name="T1" fmla="*/ 2570 h 15960"/>
                <a:gd name="T2" fmla="*/ 0 w 39333"/>
                <a:gd name="T3" fmla="*/ 2570 h 15960"/>
                <a:gd name="T4" fmla="*/ 10992 w 39333"/>
                <a:gd name="T5" fmla="*/ 13001 h 15960"/>
                <a:gd name="T6" fmla="*/ 26016 w 39333"/>
                <a:gd name="T7" fmla="*/ 14979 h 15960"/>
                <a:gd name="T8" fmla="*/ 39333 w 39333"/>
                <a:gd name="T9" fmla="*/ 7748 h 15960"/>
                <a:gd name="T10" fmla="*/ 39333 w 39333"/>
                <a:gd name="T11" fmla="*/ 7748 h 15960"/>
                <a:gd name="T12" fmla="*/ 39333 w 39333"/>
                <a:gd name="T13" fmla="*/ 7748 h 15960"/>
                <a:gd name="T14" fmla="*/ 0 w 39333"/>
                <a:gd name="T15" fmla="*/ 2570 h 15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333" h="15960">
                  <a:moveTo>
                    <a:pt x="0" y="2570"/>
                  </a:moveTo>
                  <a:cubicBezTo>
                    <a:pt x="0" y="2570"/>
                    <a:pt x="0" y="2570"/>
                    <a:pt x="0" y="2570"/>
                  </a:cubicBezTo>
                  <a:cubicBezTo>
                    <a:pt x="2384" y="6969"/>
                    <a:pt x="6130" y="10682"/>
                    <a:pt x="10992" y="13001"/>
                  </a:cubicBezTo>
                  <a:cubicBezTo>
                    <a:pt x="15506" y="15159"/>
                    <a:pt x="20720" y="15960"/>
                    <a:pt x="26016" y="14979"/>
                  </a:cubicBezTo>
                  <a:cubicBezTo>
                    <a:pt x="30936" y="14071"/>
                    <a:pt x="35625" y="11655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27514" y="2099"/>
                    <a:pt x="13866" y="0"/>
                    <a:pt x="0" y="2570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2059289" y="2996952"/>
            <a:ext cx="4455881" cy="1572384"/>
          </a:xfrm>
        </p:spPr>
        <p:txBody>
          <a:bodyPr anchor="b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tähän kiitosteksti tai </a:t>
            </a:r>
            <a:r>
              <a:rPr lang="fi-FI" dirty="0" err="1"/>
              <a:t>lopetuskehoitus</a:t>
            </a:r>
            <a:endParaRPr lang="fi-FI" dirty="0"/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59290" y="4822552"/>
            <a:ext cx="2236510" cy="749149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etunimi.sukunimi@vm.fi </a:t>
            </a:r>
            <a:r>
              <a:rPr lang="es-ES" dirty="0" err="1"/>
              <a:t>Loremipsum</a:t>
            </a:r>
            <a:r>
              <a:rPr lang="es-ES" dirty="0"/>
              <a:t> dolores </a:t>
            </a:r>
            <a:r>
              <a:rPr lang="es-ES" dirty="0" err="1"/>
              <a:t>sitamet</a:t>
            </a:r>
            <a:r>
              <a:rPr lang="es-ES" dirty="0"/>
              <a:t> vm.fi</a:t>
            </a:r>
            <a:endParaRPr lang="fi-FI" dirty="0"/>
          </a:p>
        </p:txBody>
      </p:sp>
      <p:pic>
        <p:nvPicPr>
          <p:cNvPr id="15" name="Kuva 14">
            <a:extLst>
              <a:ext uri="{FF2B5EF4-FFF2-40B4-BE49-F238E27FC236}">
                <a16:creationId xmlns:a16="http://schemas.microsoft.com/office/drawing/2014/main" id="{6E19D34C-D51B-407C-A1A6-BB6CEEC5DDF8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4613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356350" cy="252698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</a:t>
            </a:r>
            <a:br>
              <a:rPr lang="fi-FI" dirty="0"/>
            </a:br>
            <a:r>
              <a:rPr lang="fi-FI" dirty="0"/>
              <a:t>esityksen </a:t>
            </a:r>
            <a:br>
              <a:rPr lang="fi-FI" dirty="0"/>
            </a:br>
            <a:r>
              <a:rPr lang="fi-FI" dirty="0"/>
              <a:t>jäsentämiseen, </a:t>
            </a:r>
            <a:br>
              <a:rPr lang="fi-FI" dirty="0"/>
            </a:br>
            <a:r>
              <a:rPr lang="fi-FI" dirty="0"/>
              <a:t>4 riviä lyhyellä tekstill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9F8BFF4-EC86-4A85-B914-B241AE572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4F20DE8F-8CBA-4069-B1E4-BBCC9BE8A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730146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932414" cy="87193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D25FCF1C-6312-4783-B492-30778B19C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5" name="Dian numeron paikkamerkki 14">
            <a:extLst>
              <a:ext uri="{FF2B5EF4-FFF2-40B4-BE49-F238E27FC236}">
                <a16:creationId xmlns:a16="http://schemas.microsoft.com/office/drawing/2014/main" id="{B58E6CF3-2C51-4D95-85AA-2F72E91E1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060941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195567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esityksen </a:t>
            </a:r>
            <a:br>
              <a:rPr lang="fi-FI" dirty="0"/>
            </a:br>
            <a:r>
              <a:rPr lang="fi-FI" dirty="0"/>
              <a:t>jäsentämiseen pitkällä tekstillä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5A33775A-8692-4630-B0A7-351A15032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DBD8842B-CE46-458C-9327-5C7AC4214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723157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936000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, yksi sana tai 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862206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213C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0" name="Kuvan paikkamerkki 19">
            <a:extLst>
              <a:ext uri="{FF2B5EF4-FFF2-40B4-BE49-F238E27FC236}">
                <a16:creationId xmlns:a16="http://schemas.microsoft.com/office/drawing/2014/main" id="{8DB9BFF2-C31A-4614-8C44-870E61EDC78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337664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rakennus, mies, katettu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29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442332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3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tuulimylly, ulko, näkymä, aut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7C376E3-2ABB-974B-9114-E2184E099A4F}"/>
              </a:ext>
            </a:extLst>
          </p:cNvPr>
          <p:cNvSpPr txBox="1"/>
          <p:nvPr userDrawn="1"/>
        </p:nvSpPr>
        <p:spPr>
          <a:xfrm>
            <a:off x="5405163" y="476672"/>
            <a:ext cx="453650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aa-ET" dirty="0">
                <a:solidFill>
                  <a:schemeClr val="bg1"/>
                </a:solidFill>
              </a:rPr>
              <a:t>Tämä kuva pois, tilalle kuvalaatikko</a:t>
            </a:r>
          </a:p>
        </p:txBody>
      </p:sp>
    </p:spTree>
    <p:extLst>
      <p:ext uri="{BB962C8B-B14F-4D97-AF65-F5344CB8AC3E}">
        <p14:creationId xmlns:p14="http://schemas.microsoft.com/office/powerpoint/2010/main" val="16695019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5AB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ADD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vaale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3606673C-8E2D-462A-8FED-E7C3DAE7F60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6827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pöytä, istuminen, kirjoituspöytä, tietokone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22000" cy="6858000"/>
          </a:xfrm>
          <a:prstGeom prst="rect">
            <a:avLst/>
          </a:prstGeom>
        </p:spPr>
      </p:pic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715873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1">
            <a:extLst>
              <a:ext uri="{FF2B5EF4-FFF2-40B4-BE49-F238E27FC236}">
                <a16:creationId xmlns:a16="http://schemas.microsoft.com/office/drawing/2014/main" id="{A9699318-17A8-4406-8545-15EC6D0D763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Kuvan paikkamerkki 19">
            <a:extLst>
              <a:ext uri="{FF2B5EF4-FFF2-40B4-BE49-F238E27FC236}">
                <a16:creationId xmlns:a16="http://schemas.microsoft.com/office/drawing/2014/main" id="{C20D1C9F-02E1-4C00-846A-9CC67CA2EDE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305831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sp>
        <p:nvSpPr>
          <p:cNvPr id="17" name="Kuvan paikkamerkki 19">
            <a:extLst>
              <a:ext uri="{FF2B5EF4-FFF2-40B4-BE49-F238E27FC236}">
                <a16:creationId xmlns:a16="http://schemas.microsoft.com/office/drawing/2014/main" id="{79A4B3D4-F743-4ABE-BF43-A842D73C48B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6812018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piiri, hiihtäminen, kell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30" y="0"/>
            <a:ext cx="4108704" cy="6858000"/>
          </a:xfrm>
          <a:prstGeom prst="rect">
            <a:avLst/>
          </a:prstGeom>
        </p:spPr>
      </p:pic>
      <p:sp>
        <p:nvSpPr>
          <p:cNvPr id="24" name="Freeform 10">
            <a:extLst>
              <a:ext uri="{FF2B5EF4-FFF2-40B4-BE49-F238E27FC236}">
                <a16:creationId xmlns:a16="http://schemas.microsoft.com/office/drawing/2014/main" id="{E5B9F0F0-2539-458B-AAF7-535BE5D78F43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8756990" cy="6857999"/>
          </a:xfrm>
          <a:custGeom>
            <a:avLst/>
            <a:gdLst>
              <a:gd name="T0" fmla="*/ 0 w 48666"/>
              <a:gd name="T1" fmla="*/ 38100 h 38100"/>
              <a:gd name="T2" fmla="*/ 48666 w 48666"/>
              <a:gd name="T3" fmla="*/ 38100 h 38100"/>
              <a:gd name="T4" fmla="*/ 46174 w 48666"/>
              <a:gd name="T5" fmla="*/ 29774 h 38100"/>
              <a:gd name="T6" fmla="*/ 46174 w 48666"/>
              <a:gd name="T7" fmla="*/ 29774 h 38100"/>
              <a:gd name="T8" fmla="*/ 48657 w 48666"/>
              <a:gd name="T9" fmla="*/ 0 h 38100"/>
              <a:gd name="T10" fmla="*/ 0 w 48666"/>
              <a:gd name="T11" fmla="*/ 0 h 38100"/>
              <a:gd name="T12" fmla="*/ 0 w 48666"/>
              <a:gd name="T13" fmla="*/ 38100 h 38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666" h="38100">
                <a:moveTo>
                  <a:pt x="0" y="38100"/>
                </a:moveTo>
                <a:lnTo>
                  <a:pt x="48666" y="38100"/>
                </a:lnTo>
                <a:cubicBezTo>
                  <a:pt x="47620" y="35440"/>
                  <a:pt x="46781" y="32661"/>
                  <a:pt x="46174" y="29774"/>
                </a:cubicBezTo>
                <a:lnTo>
                  <a:pt x="46174" y="29774"/>
                </a:lnTo>
                <a:cubicBezTo>
                  <a:pt x="44128" y="20120"/>
                  <a:pt x="44799" y="9795"/>
                  <a:pt x="48657" y="0"/>
                </a:cubicBez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365AB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297841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743A037A-3296-40C2-9074-84427B0EB2B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6756211" cy="6858000"/>
            <a:chOff x="2724150" y="6350"/>
            <a:chExt cx="6743700" cy="6845301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89334710-4573-413A-9371-58D53E96403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6350"/>
              <a:ext cx="6743700" cy="6845300"/>
            </a:xfrm>
            <a:custGeom>
              <a:avLst/>
              <a:gdLst>
                <a:gd name="T0" fmla="*/ 37531 w 37531"/>
                <a:gd name="T1" fmla="*/ 38100 h 38100"/>
                <a:gd name="T2" fmla="*/ 35005 w 37531"/>
                <a:gd name="T3" fmla="*/ 29739 h 38100"/>
                <a:gd name="T4" fmla="*/ 37500 w 37531"/>
                <a:gd name="T5" fmla="*/ 0 h 38100"/>
                <a:gd name="T6" fmla="*/ 0 w 37531"/>
                <a:gd name="T7" fmla="*/ 0 h 38100"/>
                <a:gd name="T8" fmla="*/ 0 w 37531"/>
                <a:gd name="T9" fmla="*/ 38100 h 38100"/>
                <a:gd name="T10" fmla="*/ 37531 w 37531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531" h="38100">
                  <a:moveTo>
                    <a:pt x="37531" y="38100"/>
                  </a:moveTo>
                  <a:cubicBezTo>
                    <a:pt x="36473" y="35432"/>
                    <a:pt x="35622" y="32640"/>
                    <a:pt x="35005" y="29739"/>
                  </a:cubicBezTo>
                  <a:cubicBezTo>
                    <a:pt x="32947" y="20093"/>
                    <a:pt x="33623" y="9779"/>
                    <a:pt x="37500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37531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025CC1E-66FA-4412-98F7-D19894F2D9B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4011613"/>
              <a:ext cx="6443663" cy="2840038"/>
            </a:xfrm>
            <a:custGeom>
              <a:avLst/>
              <a:gdLst>
                <a:gd name="T0" fmla="*/ 35867 w 35867"/>
                <a:gd name="T1" fmla="*/ 15808 h 15808"/>
                <a:gd name="T2" fmla="*/ 0 w 35867"/>
                <a:gd name="T3" fmla="*/ 0 h 15808"/>
                <a:gd name="T4" fmla="*/ 0 w 35867"/>
                <a:gd name="T5" fmla="*/ 15808 h 15808"/>
                <a:gd name="T6" fmla="*/ 35867 w 35867"/>
                <a:gd name="T7" fmla="*/ 15808 h 15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867" h="15808">
                  <a:moveTo>
                    <a:pt x="35867" y="15808"/>
                  </a:moveTo>
                  <a:cubicBezTo>
                    <a:pt x="24829" y="8026"/>
                    <a:pt x="12618" y="2772"/>
                    <a:pt x="0" y="0"/>
                  </a:cubicBezTo>
                  <a:lnTo>
                    <a:pt x="0" y="15808"/>
                  </a:lnTo>
                  <a:lnTo>
                    <a:pt x="35867" y="1580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4916190" cy="180803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Asianostosivu </a:t>
            </a:r>
            <a:br>
              <a:rPr lang="fi-FI" dirty="0"/>
            </a:br>
            <a:r>
              <a:rPr lang="fi-FI" dirty="0"/>
              <a:t>esityksen jäsentämiseen, 3 rivin otsikko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53880" y="1514325"/>
            <a:ext cx="4658744" cy="4248000"/>
          </a:xfrm>
        </p:spPr>
        <p:txBody>
          <a:bodyPr/>
          <a:lstStyle>
            <a:lvl1pPr marL="269875" indent="-269875">
              <a:lnSpc>
                <a:spcPct val="95000"/>
              </a:lnSpc>
              <a:defRPr sz="22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38A531D9-3794-4382-A4CC-D062827D8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E9C40528-505B-4E57-81CB-FA8E7278B7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717682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yhmä 17">
            <a:extLst>
              <a:ext uri="{FF2B5EF4-FFF2-40B4-BE49-F238E27FC236}">
                <a16:creationId xmlns:a16="http://schemas.microsoft.com/office/drawing/2014/main" id="{BF83FD59-B2EE-42A4-AC03-53869A1132E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0"/>
            <a:ext cx="12193200" cy="6858000"/>
            <a:chOff x="166688" y="158750"/>
            <a:chExt cx="12163425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52F1267F-7172-44B3-9A7E-906E5E4A0F8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1652588"/>
              <a:ext cx="4445000" cy="5351463"/>
            </a:xfrm>
            <a:custGeom>
              <a:avLst/>
              <a:gdLst>
                <a:gd name="T0" fmla="*/ 24755 w 24755"/>
                <a:gd name="T1" fmla="*/ 0 h 29783"/>
                <a:gd name="T2" fmla="*/ 12889 w 24755"/>
                <a:gd name="T3" fmla="*/ 9835 h 29783"/>
                <a:gd name="T4" fmla="*/ 0 w 24755"/>
                <a:gd name="T5" fmla="*/ 29783 h 29783"/>
                <a:gd name="T6" fmla="*/ 24755 w 24755"/>
                <a:gd name="T7" fmla="*/ 29783 h 29783"/>
                <a:gd name="T8" fmla="*/ 24755 w 24755"/>
                <a:gd name="T9" fmla="*/ 0 h 29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55" h="29783">
                  <a:moveTo>
                    <a:pt x="24755" y="0"/>
                  </a:moveTo>
                  <a:cubicBezTo>
                    <a:pt x="20509" y="2731"/>
                    <a:pt x="16519" y="6009"/>
                    <a:pt x="12889" y="9835"/>
                  </a:cubicBezTo>
                  <a:cubicBezTo>
                    <a:pt x="7462" y="15544"/>
                    <a:pt x="3054" y="22280"/>
                    <a:pt x="0" y="29783"/>
                  </a:cubicBezTo>
                  <a:lnTo>
                    <a:pt x="24755" y="29783"/>
                  </a:lnTo>
                  <a:lnTo>
                    <a:pt x="24755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3FDD5063-1FA4-49AC-88A8-BBD3F632236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2028825"/>
              <a:ext cx="12163425" cy="4975225"/>
            </a:xfrm>
            <a:custGeom>
              <a:avLst/>
              <a:gdLst>
                <a:gd name="T0" fmla="*/ 67733 w 67733"/>
                <a:gd name="T1" fmla="*/ 15074 h 27696"/>
                <a:gd name="T2" fmla="*/ 55867 w 67733"/>
                <a:gd name="T3" fmla="*/ 7748 h 27696"/>
                <a:gd name="T4" fmla="*/ 16534 w 67733"/>
                <a:gd name="T5" fmla="*/ 2570 h 27696"/>
                <a:gd name="T6" fmla="*/ 0 w 67733"/>
                <a:gd name="T7" fmla="*/ 8021 h 27696"/>
                <a:gd name="T8" fmla="*/ 0 w 67733"/>
                <a:gd name="T9" fmla="*/ 27696 h 27696"/>
                <a:gd name="T10" fmla="*/ 67733 w 67733"/>
                <a:gd name="T11" fmla="*/ 27696 h 27696"/>
                <a:gd name="T12" fmla="*/ 67733 w 67733"/>
                <a:gd name="T13" fmla="*/ 15074 h 27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7696">
                  <a:moveTo>
                    <a:pt x="67733" y="15074"/>
                  </a:moveTo>
                  <a:cubicBezTo>
                    <a:pt x="64127" y="12264"/>
                    <a:pt x="60164" y="9798"/>
                    <a:pt x="55867" y="7748"/>
                  </a:cubicBezTo>
                  <a:cubicBezTo>
                    <a:pt x="44048" y="2099"/>
                    <a:pt x="30400" y="0"/>
                    <a:pt x="16534" y="2570"/>
                  </a:cubicBezTo>
                  <a:cubicBezTo>
                    <a:pt x="10848" y="3619"/>
                    <a:pt x="5281" y="5438"/>
                    <a:pt x="0" y="8021"/>
                  </a:cubicBezTo>
                  <a:lnTo>
                    <a:pt x="0" y="27696"/>
                  </a:lnTo>
                  <a:lnTo>
                    <a:pt x="67733" y="27696"/>
                  </a:lnTo>
                  <a:lnTo>
                    <a:pt x="67733" y="1507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7D958EC3-4B66-4A2A-814C-45DFD9E57F7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748588" y="158750"/>
              <a:ext cx="3668713" cy="3260725"/>
            </a:xfrm>
            <a:custGeom>
              <a:avLst/>
              <a:gdLst>
                <a:gd name="T0" fmla="*/ 0 w 20424"/>
                <a:gd name="T1" fmla="*/ 0 h 18152"/>
                <a:gd name="T2" fmla="*/ 2651 w 20424"/>
                <a:gd name="T3" fmla="*/ 7721 h 18152"/>
                <a:gd name="T4" fmla="*/ 13643 w 20424"/>
                <a:gd name="T5" fmla="*/ 18152 h 18152"/>
                <a:gd name="T6" fmla="*/ 20167 w 20424"/>
                <a:gd name="T7" fmla="*/ 4475 h 18152"/>
                <a:gd name="T8" fmla="*/ 20347 w 20424"/>
                <a:gd name="T9" fmla="*/ 0 h 18152"/>
                <a:gd name="T10" fmla="*/ 0 w 20424"/>
                <a:gd name="T11" fmla="*/ 0 h 18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24" h="18152">
                  <a:moveTo>
                    <a:pt x="0" y="0"/>
                  </a:moveTo>
                  <a:cubicBezTo>
                    <a:pt x="433" y="2635"/>
                    <a:pt x="1305" y="5243"/>
                    <a:pt x="2651" y="7721"/>
                  </a:cubicBezTo>
                  <a:cubicBezTo>
                    <a:pt x="5035" y="12120"/>
                    <a:pt x="8781" y="15833"/>
                    <a:pt x="13643" y="18152"/>
                  </a:cubicBezTo>
                  <a:cubicBezTo>
                    <a:pt x="17090" y="14526"/>
                    <a:pt x="19464" y="9815"/>
                    <a:pt x="20167" y="4475"/>
                  </a:cubicBezTo>
                  <a:cubicBezTo>
                    <a:pt x="20362" y="2999"/>
                    <a:pt x="20424" y="1501"/>
                    <a:pt x="2034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6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F647EA55-DBDB-4E2D-AD6D-F126CFACA5F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3419475"/>
              <a:ext cx="4445000" cy="3584575"/>
            </a:xfrm>
            <a:custGeom>
              <a:avLst/>
              <a:gdLst>
                <a:gd name="T0" fmla="*/ 24755 w 24755"/>
                <a:gd name="T1" fmla="*/ 7326 h 19948"/>
                <a:gd name="T2" fmla="*/ 12889 w 24755"/>
                <a:gd name="T3" fmla="*/ 0 h 19948"/>
                <a:gd name="T4" fmla="*/ 12889 w 24755"/>
                <a:gd name="T5" fmla="*/ 0 h 19948"/>
                <a:gd name="T6" fmla="*/ 12889 w 24755"/>
                <a:gd name="T7" fmla="*/ 0 h 19948"/>
                <a:gd name="T8" fmla="*/ 0 w 24755"/>
                <a:gd name="T9" fmla="*/ 19948 h 19948"/>
                <a:gd name="T10" fmla="*/ 24755 w 24755"/>
                <a:gd name="T11" fmla="*/ 19948 h 19948"/>
                <a:gd name="T12" fmla="*/ 24755 w 24755"/>
                <a:gd name="T13" fmla="*/ 7326 h 19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755" h="19948">
                  <a:moveTo>
                    <a:pt x="24755" y="7326"/>
                  </a:moveTo>
                  <a:cubicBezTo>
                    <a:pt x="21149" y="4516"/>
                    <a:pt x="17186" y="205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7462" y="5709"/>
                    <a:pt x="3054" y="12445"/>
                    <a:pt x="0" y="19948"/>
                  </a:cubicBezTo>
                  <a:lnTo>
                    <a:pt x="24755" y="19948"/>
                  </a:lnTo>
                  <a:lnTo>
                    <a:pt x="24755" y="7326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24AB4DAC-943D-40D7-9EED-76F69D6845E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199688" y="1652588"/>
              <a:ext cx="2130425" cy="2232025"/>
            </a:xfrm>
            <a:custGeom>
              <a:avLst/>
              <a:gdLst>
                <a:gd name="T0" fmla="*/ 11866 w 11866"/>
                <a:gd name="T1" fmla="*/ 0 h 12419"/>
                <a:gd name="T2" fmla="*/ 0 w 11866"/>
                <a:gd name="T3" fmla="*/ 9835 h 12419"/>
                <a:gd name="T4" fmla="*/ 0 w 11866"/>
                <a:gd name="T5" fmla="*/ 9835 h 12419"/>
                <a:gd name="T6" fmla="*/ 0 w 11866"/>
                <a:gd name="T7" fmla="*/ 9835 h 12419"/>
                <a:gd name="T8" fmla="*/ 11866 w 11866"/>
                <a:gd name="T9" fmla="*/ 12190 h 12419"/>
                <a:gd name="T10" fmla="*/ 11866 w 11866"/>
                <a:gd name="T11" fmla="*/ 0 h 12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66" h="12419">
                  <a:moveTo>
                    <a:pt x="11866" y="0"/>
                  </a:moveTo>
                  <a:cubicBezTo>
                    <a:pt x="7620" y="2731"/>
                    <a:pt x="3630" y="6009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3613" y="11562"/>
                    <a:pt x="7674" y="12419"/>
                    <a:pt x="11866" y="12190"/>
                  </a:cubicBezTo>
                  <a:lnTo>
                    <a:pt x="11866" y="0"/>
                  </a:ln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091207B8-FCA3-4AF6-8D9D-ED83A74F3C4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36901" y="2028825"/>
              <a:ext cx="7062788" cy="2867025"/>
            </a:xfrm>
            <a:custGeom>
              <a:avLst/>
              <a:gdLst>
                <a:gd name="T0" fmla="*/ 0 w 39333"/>
                <a:gd name="T1" fmla="*/ 2570 h 15960"/>
                <a:gd name="T2" fmla="*/ 0 w 39333"/>
                <a:gd name="T3" fmla="*/ 2570 h 15960"/>
                <a:gd name="T4" fmla="*/ 10992 w 39333"/>
                <a:gd name="T5" fmla="*/ 13001 h 15960"/>
                <a:gd name="T6" fmla="*/ 26016 w 39333"/>
                <a:gd name="T7" fmla="*/ 14979 h 15960"/>
                <a:gd name="T8" fmla="*/ 39333 w 39333"/>
                <a:gd name="T9" fmla="*/ 7748 h 15960"/>
                <a:gd name="T10" fmla="*/ 39333 w 39333"/>
                <a:gd name="T11" fmla="*/ 7748 h 15960"/>
                <a:gd name="T12" fmla="*/ 39333 w 39333"/>
                <a:gd name="T13" fmla="*/ 7748 h 15960"/>
                <a:gd name="T14" fmla="*/ 0 w 39333"/>
                <a:gd name="T15" fmla="*/ 2570 h 15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333" h="15960">
                  <a:moveTo>
                    <a:pt x="0" y="2570"/>
                  </a:moveTo>
                  <a:cubicBezTo>
                    <a:pt x="0" y="2570"/>
                    <a:pt x="0" y="2570"/>
                    <a:pt x="0" y="2570"/>
                  </a:cubicBezTo>
                  <a:cubicBezTo>
                    <a:pt x="2384" y="6969"/>
                    <a:pt x="6130" y="10682"/>
                    <a:pt x="10992" y="13001"/>
                  </a:cubicBezTo>
                  <a:cubicBezTo>
                    <a:pt x="15506" y="15159"/>
                    <a:pt x="20720" y="15960"/>
                    <a:pt x="26016" y="14979"/>
                  </a:cubicBezTo>
                  <a:cubicBezTo>
                    <a:pt x="30936" y="14071"/>
                    <a:pt x="35625" y="11655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27514" y="2099"/>
                    <a:pt x="13866" y="0"/>
                    <a:pt x="0" y="2570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2059289" y="2996952"/>
            <a:ext cx="4455881" cy="1572384"/>
          </a:xfrm>
        </p:spPr>
        <p:txBody>
          <a:bodyPr anchor="b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tähän kiitosteksti tai </a:t>
            </a:r>
            <a:r>
              <a:rPr lang="fi-FI" dirty="0" err="1"/>
              <a:t>lopetuskehoitus</a:t>
            </a:r>
            <a:endParaRPr lang="fi-FI" dirty="0"/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59290" y="4822552"/>
            <a:ext cx="2236510" cy="749149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etunimi.sukunimi@vm.fi </a:t>
            </a:r>
            <a:r>
              <a:rPr lang="es-ES" dirty="0" err="1"/>
              <a:t>Loremipsum</a:t>
            </a:r>
            <a:r>
              <a:rPr lang="es-ES" dirty="0"/>
              <a:t> dolores </a:t>
            </a:r>
            <a:r>
              <a:rPr lang="es-ES" dirty="0" err="1"/>
              <a:t>sitamet</a:t>
            </a:r>
            <a:r>
              <a:rPr lang="es-ES" dirty="0"/>
              <a:t> vm.fi</a:t>
            </a:r>
            <a:endParaRPr lang="fi-FI" dirty="0"/>
          </a:p>
        </p:txBody>
      </p:sp>
      <p:pic>
        <p:nvPicPr>
          <p:cNvPr id="15" name="Kuva 14">
            <a:extLst>
              <a:ext uri="{FF2B5EF4-FFF2-40B4-BE49-F238E27FC236}">
                <a16:creationId xmlns:a16="http://schemas.microsoft.com/office/drawing/2014/main" id="{6E19D34C-D51B-407C-A1A6-BB6CEEC5DDF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4262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tumm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9B432168-221C-4229-ABD4-620A83233A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7846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5AB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ADD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vaale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3606673C-8E2D-462A-8FED-E7C3DAE7F60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4964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Kuva 18" descr="Kuva, joka sisältää kohteen henkilö, sisä, mies, pöytä">
            <a:extLst>
              <a:ext uri="{FF2B5EF4-FFF2-40B4-BE49-F238E27FC236}">
                <a16:creationId xmlns:a16="http://schemas.microsoft.com/office/drawing/2014/main" id="{7FFB4FBC-1765-4F80-9F01-A708CFC6118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7581" y="973267"/>
            <a:ext cx="5105619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792852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Kuva 19" descr="Nuori tyttö käyttää tietokonetta">
            <a:extLst>
              <a:ext uri="{FF2B5EF4-FFF2-40B4-BE49-F238E27FC236}">
                <a16:creationId xmlns:a16="http://schemas.microsoft.com/office/drawing/2014/main" id="{E658BAF6-19C4-470B-B394-894A756A0CD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91867" y="973267"/>
            <a:ext cx="5101333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04681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Kuva 18" descr="Kuva, joka sisältää kohteen henkilö, sisä, mies, pöytä">
            <a:extLst>
              <a:ext uri="{FF2B5EF4-FFF2-40B4-BE49-F238E27FC236}">
                <a16:creationId xmlns:a16="http://schemas.microsoft.com/office/drawing/2014/main" id="{7FFB4FBC-1765-4F80-9F01-A708CFC6118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7581" y="973267"/>
            <a:ext cx="5105619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8362313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. </a:t>
            </a:r>
            <a:br>
              <a:rPr lang="fi-FI" dirty="0"/>
            </a:br>
            <a:r>
              <a:rPr lang="fi-FI" dirty="0"/>
              <a:t>Otsikon pituus korkeintaan kaksi riviä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77F5A965-5012-417E-A4D7-9CB8DE3A3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D9E0DD3D-67FB-4C7B-917A-622EAB8FF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284538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ot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 väliotsikolla.</a:t>
            </a:r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0904BD93-F0C4-4A6C-9010-5804694C71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1050" y="1758315"/>
            <a:ext cx="10571163" cy="446549"/>
          </a:xfrm>
        </p:spPr>
        <p:txBody>
          <a:bodyPr/>
          <a:lstStyle>
            <a:lvl1pPr marL="0" indent="0">
              <a:buNone/>
              <a:defRPr b="1"/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Väli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2285999"/>
            <a:ext cx="10571480" cy="3724761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6ADF7489-4677-49C3-A1B0-538615DB37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CDDDB65-8BD7-43F3-A41C-27411B8405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57716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kaksipalstainen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1764323"/>
            <a:ext cx="5156538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1764323"/>
            <a:ext cx="5187462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414714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vertailu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7" name="Tekstin paikkamerkki 2">
            <a:extLst>
              <a:ext uri="{FF2B5EF4-FFF2-40B4-BE49-F238E27FC236}">
                <a16:creationId xmlns:a16="http://schemas.microsoft.com/office/drawing/2014/main" id="{CC5AFB07-741E-400C-B07F-CFAD1C24366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781201" y="1764323"/>
            <a:ext cx="515653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2235200"/>
            <a:ext cx="5156538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Tekstin paikkamerkki 4">
            <a:extLst>
              <a:ext uri="{FF2B5EF4-FFF2-40B4-BE49-F238E27FC236}">
                <a16:creationId xmlns:a16="http://schemas.microsoft.com/office/drawing/2014/main" id="{FE13A6AE-0F0A-413E-AE09-F64745829C8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764323"/>
            <a:ext cx="518318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2235200"/>
            <a:ext cx="5187462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709012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Grafiikkasivu, kuva ja tekstitiivistelmä vierekkäin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6164822" cy="42480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Tekstin paikkamerkki 22">
            <a:extLst>
              <a:ext uri="{FF2B5EF4-FFF2-40B4-BE49-F238E27FC236}">
                <a16:creationId xmlns:a16="http://schemas.microsoft.com/office/drawing/2014/main" id="{3031A60E-285E-4799-8337-B7C931123A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26518" y="1959997"/>
            <a:ext cx="4286106" cy="3802327"/>
          </a:xfrm>
        </p:spPr>
        <p:txBody>
          <a:bodyPr/>
          <a:lstStyle>
            <a:lvl1pPr marL="269875" indent="-269875">
              <a:lnSpc>
                <a:spcPct val="95000"/>
              </a:lnSpc>
              <a:defRPr sz="19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1" name="Alatunnisteen paikkamerkki 10">
            <a:extLst>
              <a:ext uri="{FF2B5EF4-FFF2-40B4-BE49-F238E27FC236}">
                <a16:creationId xmlns:a16="http://schemas.microsoft.com/office/drawing/2014/main" id="{CD9B7E4D-B77A-4CF1-B584-356F4C4B32D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2" name="Dian numeron paikkamerkki 11">
            <a:extLst>
              <a:ext uri="{FF2B5EF4-FFF2-40B4-BE49-F238E27FC236}">
                <a16:creationId xmlns:a16="http://schemas.microsoft.com/office/drawing/2014/main" id="{9B664EFA-778C-4D9B-A7A3-46CB8D5370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621019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tekstillinen 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320" y="306000"/>
            <a:ext cx="5025648" cy="1325563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/>
              <a:t>Tekstisivu kuvalla, </a:t>
            </a:r>
            <a:br>
              <a:rPr lang="fi-FI" dirty="0"/>
            </a:br>
            <a:r>
              <a:rPr lang="fi-FI" dirty="0"/>
              <a:t>lyhyt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5025648" cy="4248000"/>
          </a:xfrm>
        </p:spPr>
        <p:txBody>
          <a:bodyPr/>
          <a:lstStyle>
            <a:lvl1pPr marL="269875" indent="-269875">
              <a:defRPr sz="2200"/>
            </a:lvl1pPr>
            <a:lvl2pPr marL="625475" indent="-265113">
              <a:defRPr/>
            </a:lvl2pPr>
            <a:lvl3pPr marL="715962" indent="0">
              <a:buNone/>
              <a:defRPr/>
            </a:lvl3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Kuvan paikkamerkki 19">
            <a:extLst>
              <a:ext uri="{FF2B5EF4-FFF2-40B4-BE49-F238E27FC236}">
                <a16:creationId xmlns:a16="http://schemas.microsoft.com/office/drawing/2014/main" id="{1CD34E48-431E-47C9-8075-E449B22F1C1A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3461" y="-4484"/>
            <a:ext cx="6086310" cy="6866965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6086309"/>
              <a:gd name="connsiteY0" fmla="*/ 4483 h 6862483"/>
              <a:gd name="connsiteX1" fmla="*/ 6086309 w 6086309"/>
              <a:gd name="connsiteY1" fmla="*/ 0 h 6862483"/>
              <a:gd name="connsiteX2" fmla="*/ 4087180 w 6086309"/>
              <a:gd name="connsiteY2" fmla="*/ 6862483 h 6862483"/>
              <a:gd name="connsiteX3" fmla="*/ 655475 w 6086309"/>
              <a:gd name="connsiteY3" fmla="*/ 6862483 h 6862483"/>
              <a:gd name="connsiteX4" fmla="*/ 5 w 6086309"/>
              <a:gd name="connsiteY4" fmla="*/ 3409885 h 6862483"/>
              <a:gd name="connsiteX5" fmla="*/ 655475 w 6086309"/>
              <a:gd name="connsiteY5" fmla="*/ 4483 h 6862483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86310" h="6866965">
                <a:moveTo>
                  <a:pt x="655475" y="4483"/>
                </a:moveTo>
                <a:lnTo>
                  <a:pt x="6086309" y="0"/>
                </a:lnTo>
                <a:cubicBezTo>
                  <a:pt x="6086309" y="2288988"/>
                  <a:pt x="6086310" y="4577977"/>
                  <a:pt x="6086310" y="6866965"/>
                </a:cubicBezTo>
                <a:lnTo>
                  <a:pt x="655475" y="6862483"/>
                </a:lnTo>
                <a:cubicBezTo>
                  <a:pt x="198241" y="5584022"/>
                  <a:pt x="-1047" y="4542725"/>
                  <a:pt x="5" y="3409885"/>
                </a:cubicBezTo>
                <a:cubicBezTo>
                  <a:pt x="1057" y="2277045"/>
                  <a:pt x="220670" y="999399"/>
                  <a:pt x="655475" y="4483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9700E9CE-DAC8-4704-A149-43A60B27A84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22E9968-6017-4856-A4C4-E7595C39E8B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14607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415F941-B7C0-48FA-BC12-7B7C22682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7CD8110F-CCB3-4F2C-A24C-583951140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DD1E9F2C-6E23-43A9-A7DE-626D34CED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893775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CBD59BAD-0669-42AB-9904-BB6AA4465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2F973901-92EE-424C-B835-C2D00C6C5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4033414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356350" cy="252698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</a:t>
            </a:r>
            <a:br>
              <a:rPr lang="fi-FI" dirty="0"/>
            </a:br>
            <a:r>
              <a:rPr lang="fi-FI" dirty="0"/>
              <a:t>esityksen </a:t>
            </a:r>
            <a:br>
              <a:rPr lang="fi-FI" dirty="0"/>
            </a:br>
            <a:r>
              <a:rPr lang="fi-FI" dirty="0"/>
              <a:t>jäsentämiseen, </a:t>
            </a:r>
            <a:br>
              <a:rPr lang="fi-FI" dirty="0"/>
            </a:br>
            <a:r>
              <a:rPr lang="fi-FI" dirty="0"/>
              <a:t>4 riviä lyhyellä tekstill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9F8BFF4-EC86-4A85-B914-B241AE572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4F20DE8F-8CBA-4069-B1E4-BBCC9BE8A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105465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932414" cy="87193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D25FCF1C-6312-4783-B492-30778B19C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5" name="Dian numeron paikkamerkki 14">
            <a:extLst>
              <a:ext uri="{FF2B5EF4-FFF2-40B4-BE49-F238E27FC236}">
                <a16:creationId xmlns:a16="http://schemas.microsoft.com/office/drawing/2014/main" id="{B58E6CF3-2C51-4D95-85AA-2F72E91E1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535204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Kuva 19" descr="Nuori tyttö käyttää tietokonetta">
            <a:extLst>
              <a:ext uri="{FF2B5EF4-FFF2-40B4-BE49-F238E27FC236}">
                <a16:creationId xmlns:a16="http://schemas.microsoft.com/office/drawing/2014/main" id="{E658BAF6-19C4-470B-B394-894A756A0CD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91867" y="973267"/>
            <a:ext cx="5101333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2056057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195567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esityksen </a:t>
            </a:r>
            <a:br>
              <a:rPr lang="fi-FI" dirty="0"/>
            </a:br>
            <a:r>
              <a:rPr lang="fi-FI" dirty="0"/>
              <a:t>jäsentämiseen pitkällä tekstillä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5A33775A-8692-4630-B0A7-351A15032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DBD8842B-CE46-458C-9327-5C7AC4214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35548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936000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, yksi sana tai 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931224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213C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0" name="Kuvan paikkamerkki 19">
            <a:extLst>
              <a:ext uri="{FF2B5EF4-FFF2-40B4-BE49-F238E27FC236}">
                <a16:creationId xmlns:a16="http://schemas.microsoft.com/office/drawing/2014/main" id="{8DB9BFF2-C31A-4614-8C44-870E61EDC78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005570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rakennus, mies, katettu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29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980371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3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tuulimylly, ulko, näkymä, aut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7C376E3-2ABB-974B-9114-E2184E099A4F}"/>
              </a:ext>
            </a:extLst>
          </p:cNvPr>
          <p:cNvSpPr txBox="1"/>
          <p:nvPr userDrawn="1"/>
        </p:nvSpPr>
        <p:spPr>
          <a:xfrm>
            <a:off x="5405163" y="476672"/>
            <a:ext cx="453650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FI" dirty="0">
                <a:solidFill>
                  <a:schemeClr val="bg1"/>
                </a:solidFill>
              </a:rPr>
              <a:t>Tämä kuva pois, tilalle kuvalaatikko</a:t>
            </a:r>
          </a:p>
        </p:txBody>
      </p:sp>
    </p:spTree>
    <p:extLst>
      <p:ext uri="{BB962C8B-B14F-4D97-AF65-F5344CB8AC3E}">
        <p14:creationId xmlns:p14="http://schemas.microsoft.com/office/powerpoint/2010/main" val="24430402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pöytä, istuminen, kirjoituspöytä, tietokone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22000" cy="6858000"/>
          </a:xfrm>
          <a:prstGeom prst="rect">
            <a:avLst/>
          </a:prstGeom>
        </p:spPr>
      </p:pic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290370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1">
            <a:extLst>
              <a:ext uri="{FF2B5EF4-FFF2-40B4-BE49-F238E27FC236}">
                <a16:creationId xmlns:a16="http://schemas.microsoft.com/office/drawing/2014/main" id="{A9699318-17A8-4406-8545-15EC6D0D763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Kuvan paikkamerkki 19">
            <a:extLst>
              <a:ext uri="{FF2B5EF4-FFF2-40B4-BE49-F238E27FC236}">
                <a16:creationId xmlns:a16="http://schemas.microsoft.com/office/drawing/2014/main" id="{C20D1C9F-02E1-4C00-846A-9CC67CA2EDE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047418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sp>
        <p:nvSpPr>
          <p:cNvPr id="17" name="Kuvan paikkamerkki 19">
            <a:extLst>
              <a:ext uri="{FF2B5EF4-FFF2-40B4-BE49-F238E27FC236}">
                <a16:creationId xmlns:a16="http://schemas.microsoft.com/office/drawing/2014/main" id="{79A4B3D4-F743-4ABE-BF43-A842D73C48B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979067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piiri, hiihtäminen, kell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30" y="0"/>
            <a:ext cx="4108704" cy="6858000"/>
          </a:xfrm>
          <a:prstGeom prst="rect">
            <a:avLst/>
          </a:prstGeom>
        </p:spPr>
      </p:pic>
      <p:sp>
        <p:nvSpPr>
          <p:cNvPr id="24" name="Freeform 10">
            <a:extLst>
              <a:ext uri="{FF2B5EF4-FFF2-40B4-BE49-F238E27FC236}">
                <a16:creationId xmlns:a16="http://schemas.microsoft.com/office/drawing/2014/main" id="{E5B9F0F0-2539-458B-AAF7-535BE5D78F43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8756990" cy="6857999"/>
          </a:xfrm>
          <a:custGeom>
            <a:avLst/>
            <a:gdLst>
              <a:gd name="T0" fmla="*/ 0 w 48666"/>
              <a:gd name="T1" fmla="*/ 38100 h 38100"/>
              <a:gd name="T2" fmla="*/ 48666 w 48666"/>
              <a:gd name="T3" fmla="*/ 38100 h 38100"/>
              <a:gd name="T4" fmla="*/ 46174 w 48666"/>
              <a:gd name="T5" fmla="*/ 29774 h 38100"/>
              <a:gd name="T6" fmla="*/ 46174 w 48666"/>
              <a:gd name="T7" fmla="*/ 29774 h 38100"/>
              <a:gd name="T8" fmla="*/ 48657 w 48666"/>
              <a:gd name="T9" fmla="*/ 0 h 38100"/>
              <a:gd name="T10" fmla="*/ 0 w 48666"/>
              <a:gd name="T11" fmla="*/ 0 h 38100"/>
              <a:gd name="T12" fmla="*/ 0 w 48666"/>
              <a:gd name="T13" fmla="*/ 38100 h 38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666" h="38100">
                <a:moveTo>
                  <a:pt x="0" y="38100"/>
                </a:moveTo>
                <a:lnTo>
                  <a:pt x="48666" y="38100"/>
                </a:lnTo>
                <a:cubicBezTo>
                  <a:pt x="47620" y="35440"/>
                  <a:pt x="46781" y="32661"/>
                  <a:pt x="46174" y="29774"/>
                </a:cubicBezTo>
                <a:lnTo>
                  <a:pt x="46174" y="29774"/>
                </a:lnTo>
                <a:cubicBezTo>
                  <a:pt x="44128" y="20120"/>
                  <a:pt x="44799" y="9795"/>
                  <a:pt x="48657" y="0"/>
                </a:cubicBez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365AB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492627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743A037A-3296-40C2-9074-84427B0EB2B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6756211" cy="6858000"/>
            <a:chOff x="2724150" y="6350"/>
            <a:chExt cx="6743700" cy="6845301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89334710-4573-413A-9371-58D53E96403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6350"/>
              <a:ext cx="6743700" cy="6845300"/>
            </a:xfrm>
            <a:custGeom>
              <a:avLst/>
              <a:gdLst>
                <a:gd name="T0" fmla="*/ 37531 w 37531"/>
                <a:gd name="T1" fmla="*/ 38100 h 38100"/>
                <a:gd name="T2" fmla="*/ 35005 w 37531"/>
                <a:gd name="T3" fmla="*/ 29739 h 38100"/>
                <a:gd name="T4" fmla="*/ 37500 w 37531"/>
                <a:gd name="T5" fmla="*/ 0 h 38100"/>
                <a:gd name="T6" fmla="*/ 0 w 37531"/>
                <a:gd name="T7" fmla="*/ 0 h 38100"/>
                <a:gd name="T8" fmla="*/ 0 w 37531"/>
                <a:gd name="T9" fmla="*/ 38100 h 38100"/>
                <a:gd name="T10" fmla="*/ 37531 w 37531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531" h="38100">
                  <a:moveTo>
                    <a:pt x="37531" y="38100"/>
                  </a:moveTo>
                  <a:cubicBezTo>
                    <a:pt x="36473" y="35432"/>
                    <a:pt x="35622" y="32640"/>
                    <a:pt x="35005" y="29739"/>
                  </a:cubicBezTo>
                  <a:cubicBezTo>
                    <a:pt x="32947" y="20093"/>
                    <a:pt x="33623" y="9779"/>
                    <a:pt x="37500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37531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025CC1E-66FA-4412-98F7-D19894F2D9B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4011613"/>
              <a:ext cx="6443663" cy="2840038"/>
            </a:xfrm>
            <a:custGeom>
              <a:avLst/>
              <a:gdLst>
                <a:gd name="T0" fmla="*/ 35867 w 35867"/>
                <a:gd name="T1" fmla="*/ 15808 h 15808"/>
                <a:gd name="T2" fmla="*/ 0 w 35867"/>
                <a:gd name="T3" fmla="*/ 0 h 15808"/>
                <a:gd name="T4" fmla="*/ 0 w 35867"/>
                <a:gd name="T5" fmla="*/ 15808 h 15808"/>
                <a:gd name="T6" fmla="*/ 35867 w 35867"/>
                <a:gd name="T7" fmla="*/ 15808 h 15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867" h="15808">
                  <a:moveTo>
                    <a:pt x="35867" y="15808"/>
                  </a:moveTo>
                  <a:cubicBezTo>
                    <a:pt x="24829" y="8026"/>
                    <a:pt x="12618" y="2772"/>
                    <a:pt x="0" y="0"/>
                  </a:cubicBezTo>
                  <a:lnTo>
                    <a:pt x="0" y="15808"/>
                  </a:lnTo>
                  <a:lnTo>
                    <a:pt x="35867" y="1580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4916190" cy="180803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Asianostosivu </a:t>
            </a:r>
            <a:br>
              <a:rPr lang="fi-FI" dirty="0"/>
            </a:br>
            <a:r>
              <a:rPr lang="fi-FI" dirty="0"/>
              <a:t>esityksen jäsentämiseen, 3 rivin otsikko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53880" y="1514325"/>
            <a:ext cx="4658744" cy="4248000"/>
          </a:xfrm>
        </p:spPr>
        <p:txBody>
          <a:bodyPr/>
          <a:lstStyle>
            <a:lvl1pPr marL="269875" indent="-269875">
              <a:lnSpc>
                <a:spcPct val="95000"/>
              </a:lnSpc>
              <a:defRPr sz="22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38A531D9-3794-4382-A4CC-D062827D8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E9C40528-505B-4E57-81CB-FA8E7278B7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2361787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. </a:t>
            </a:r>
            <a:br>
              <a:rPr lang="fi-FI" dirty="0"/>
            </a:br>
            <a:r>
              <a:rPr lang="fi-FI" dirty="0"/>
              <a:t>Otsikon pituus korkeintaan kaksi riviä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77F5A965-5012-417E-A4D7-9CB8DE3A3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D9E0DD3D-67FB-4C7B-917A-622EAB8FF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11746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483">
          <p15:clr>
            <a:srgbClr val="FBAE40"/>
          </p15:clr>
        </p15:guide>
        <p15:guide id="4" pos="7151">
          <p15:clr>
            <a:srgbClr val="FBAE40"/>
          </p15:clr>
        </p15:guide>
        <p15:guide id="5" orient="horz" pos="164">
          <p15:clr>
            <a:srgbClr val="FBAE40"/>
          </p15:clr>
        </p15:guide>
        <p15:guide id="6" orient="horz" pos="3793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yhmä 17">
            <a:extLst>
              <a:ext uri="{FF2B5EF4-FFF2-40B4-BE49-F238E27FC236}">
                <a16:creationId xmlns:a16="http://schemas.microsoft.com/office/drawing/2014/main" id="{BF83FD59-B2EE-42A4-AC03-53869A1132E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0"/>
            <a:ext cx="12193200" cy="6858000"/>
            <a:chOff x="166688" y="158750"/>
            <a:chExt cx="12163425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52F1267F-7172-44B3-9A7E-906E5E4A0F8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1652588"/>
              <a:ext cx="4445000" cy="5351463"/>
            </a:xfrm>
            <a:custGeom>
              <a:avLst/>
              <a:gdLst>
                <a:gd name="T0" fmla="*/ 24755 w 24755"/>
                <a:gd name="T1" fmla="*/ 0 h 29783"/>
                <a:gd name="T2" fmla="*/ 12889 w 24755"/>
                <a:gd name="T3" fmla="*/ 9835 h 29783"/>
                <a:gd name="T4" fmla="*/ 0 w 24755"/>
                <a:gd name="T5" fmla="*/ 29783 h 29783"/>
                <a:gd name="T6" fmla="*/ 24755 w 24755"/>
                <a:gd name="T7" fmla="*/ 29783 h 29783"/>
                <a:gd name="T8" fmla="*/ 24755 w 24755"/>
                <a:gd name="T9" fmla="*/ 0 h 29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55" h="29783">
                  <a:moveTo>
                    <a:pt x="24755" y="0"/>
                  </a:moveTo>
                  <a:cubicBezTo>
                    <a:pt x="20509" y="2731"/>
                    <a:pt x="16519" y="6009"/>
                    <a:pt x="12889" y="9835"/>
                  </a:cubicBezTo>
                  <a:cubicBezTo>
                    <a:pt x="7462" y="15544"/>
                    <a:pt x="3054" y="22280"/>
                    <a:pt x="0" y="29783"/>
                  </a:cubicBezTo>
                  <a:lnTo>
                    <a:pt x="24755" y="29783"/>
                  </a:lnTo>
                  <a:lnTo>
                    <a:pt x="24755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3FDD5063-1FA4-49AC-88A8-BBD3F632236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2028825"/>
              <a:ext cx="12163425" cy="4975225"/>
            </a:xfrm>
            <a:custGeom>
              <a:avLst/>
              <a:gdLst>
                <a:gd name="T0" fmla="*/ 67733 w 67733"/>
                <a:gd name="T1" fmla="*/ 15074 h 27696"/>
                <a:gd name="T2" fmla="*/ 55867 w 67733"/>
                <a:gd name="T3" fmla="*/ 7748 h 27696"/>
                <a:gd name="T4" fmla="*/ 16534 w 67733"/>
                <a:gd name="T5" fmla="*/ 2570 h 27696"/>
                <a:gd name="T6" fmla="*/ 0 w 67733"/>
                <a:gd name="T7" fmla="*/ 8021 h 27696"/>
                <a:gd name="T8" fmla="*/ 0 w 67733"/>
                <a:gd name="T9" fmla="*/ 27696 h 27696"/>
                <a:gd name="T10" fmla="*/ 67733 w 67733"/>
                <a:gd name="T11" fmla="*/ 27696 h 27696"/>
                <a:gd name="T12" fmla="*/ 67733 w 67733"/>
                <a:gd name="T13" fmla="*/ 15074 h 27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7696">
                  <a:moveTo>
                    <a:pt x="67733" y="15074"/>
                  </a:moveTo>
                  <a:cubicBezTo>
                    <a:pt x="64127" y="12264"/>
                    <a:pt x="60164" y="9798"/>
                    <a:pt x="55867" y="7748"/>
                  </a:cubicBezTo>
                  <a:cubicBezTo>
                    <a:pt x="44048" y="2099"/>
                    <a:pt x="30400" y="0"/>
                    <a:pt x="16534" y="2570"/>
                  </a:cubicBezTo>
                  <a:cubicBezTo>
                    <a:pt x="10848" y="3619"/>
                    <a:pt x="5281" y="5438"/>
                    <a:pt x="0" y="8021"/>
                  </a:cubicBezTo>
                  <a:lnTo>
                    <a:pt x="0" y="27696"/>
                  </a:lnTo>
                  <a:lnTo>
                    <a:pt x="67733" y="27696"/>
                  </a:lnTo>
                  <a:lnTo>
                    <a:pt x="67733" y="1507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7D958EC3-4B66-4A2A-814C-45DFD9E57F7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748588" y="158750"/>
              <a:ext cx="3668713" cy="3260725"/>
            </a:xfrm>
            <a:custGeom>
              <a:avLst/>
              <a:gdLst>
                <a:gd name="T0" fmla="*/ 0 w 20424"/>
                <a:gd name="T1" fmla="*/ 0 h 18152"/>
                <a:gd name="T2" fmla="*/ 2651 w 20424"/>
                <a:gd name="T3" fmla="*/ 7721 h 18152"/>
                <a:gd name="T4" fmla="*/ 13643 w 20424"/>
                <a:gd name="T5" fmla="*/ 18152 h 18152"/>
                <a:gd name="T6" fmla="*/ 20167 w 20424"/>
                <a:gd name="T7" fmla="*/ 4475 h 18152"/>
                <a:gd name="T8" fmla="*/ 20347 w 20424"/>
                <a:gd name="T9" fmla="*/ 0 h 18152"/>
                <a:gd name="T10" fmla="*/ 0 w 20424"/>
                <a:gd name="T11" fmla="*/ 0 h 18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24" h="18152">
                  <a:moveTo>
                    <a:pt x="0" y="0"/>
                  </a:moveTo>
                  <a:cubicBezTo>
                    <a:pt x="433" y="2635"/>
                    <a:pt x="1305" y="5243"/>
                    <a:pt x="2651" y="7721"/>
                  </a:cubicBezTo>
                  <a:cubicBezTo>
                    <a:pt x="5035" y="12120"/>
                    <a:pt x="8781" y="15833"/>
                    <a:pt x="13643" y="18152"/>
                  </a:cubicBezTo>
                  <a:cubicBezTo>
                    <a:pt x="17090" y="14526"/>
                    <a:pt x="19464" y="9815"/>
                    <a:pt x="20167" y="4475"/>
                  </a:cubicBezTo>
                  <a:cubicBezTo>
                    <a:pt x="20362" y="2999"/>
                    <a:pt x="20424" y="1501"/>
                    <a:pt x="2034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6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F647EA55-DBDB-4E2D-AD6D-F126CFACA5F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3419475"/>
              <a:ext cx="4445000" cy="3584575"/>
            </a:xfrm>
            <a:custGeom>
              <a:avLst/>
              <a:gdLst>
                <a:gd name="T0" fmla="*/ 24755 w 24755"/>
                <a:gd name="T1" fmla="*/ 7326 h 19948"/>
                <a:gd name="T2" fmla="*/ 12889 w 24755"/>
                <a:gd name="T3" fmla="*/ 0 h 19948"/>
                <a:gd name="T4" fmla="*/ 12889 w 24755"/>
                <a:gd name="T5" fmla="*/ 0 h 19948"/>
                <a:gd name="T6" fmla="*/ 12889 w 24755"/>
                <a:gd name="T7" fmla="*/ 0 h 19948"/>
                <a:gd name="T8" fmla="*/ 0 w 24755"/>
                <a:gd name="T9" fmla="*/ 19948 h 19948"/>
                <a:gd name="T10" fmla="*/ 24755 w 24755"/>
                <a:gd name="T11" fmla="*/ 19948 h 19948"/>
                <a:gd name="T12" fmla="*/ 24755 w 24755"/>
                <a:gd name="T13" fmla="*/ 7326 h 19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755" h="19948">
                  <a:moveTo>
                    <a:pt x="24755" y="7326"/>
                  </a:moveTo>
                  <a:cubicBezTo>
                    <a:pt x="21149" y="4516"/>
                    <a:pt x="17186" y="205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7462" y="5709"/>
                    <a:pt x="3054" y="12445"/>
                    <a:pt x="0" y="19948"/>
                  </a:cubicBezTo>
                  <a:lnTo>
                    <a:pt x="24755" y="19948"/>
                  </a:lnTo>
                  <a:lnTo>
                    <a:pt x="24755" y="7326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24AB4DAC-943D-40D7-9EED-76F69D6845E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199688" y="1652588"/>
              <a:ext cx="2130425" cy="2232025"/>
            </a:xfrm>
            <a:custGeom>
              <a:avLst/>
              <a:gdLst>
                <a:gd name="T0" fmla="*/ 11866 w 11866"/>
                <a:gd name="T1" fmla="*/ 0 h 12419"/>
                <a:gd name="T2" fmla="*/ 0 w 11866"/>
                <a:gd name="T3" fmla="*/ 9835 h 12419"/>
                <a:gd name="T4" fmla="*/ 0 w 11866"/>
                <a:gd name="T5" fmla="*/ 9835 h 12419"/>
                <a:gd name="T6" fmla="*/ 0 w 11866"/>
                <a:gd name="T7" fmla="*/ 9835 h 12419"/>
                <a:gd name="T8" fmla="*/ 11866 w 11866"/>
                <a:gd name="T9" fmla="*/ 12190 h 12419"/>
                <a:gd name="T10" fmla="*/ 11866 w 11866"/>
                <a:gd name="T11" fmla="*/ 0 h 12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66" h="12419">
                  <a:moveTo>
                    <a:pt x="11866" y="0"/>
                  </a:moveTo>
                  <a:cubicBezTo>
                    <a:pt x="7620" y="2731"/>
                    <a:pt x="3630" y="6009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3613" y="11562"/>
                    <a:pt x="7674" y="12419"/>
                    <a:pt x="11866" y="12190"/>
                  </a:cubicBezTo>
                  <a:lnTo>
                    <a:pt x="11866" y="0"/>
                  </a:ln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091207B8-FCA3-4AF6-8D9D-ED83A74F3C4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36901" y="2028825"/>
              <a:ext cx="7062788" cy="2867025"/>
            </a:xfrm>
            <a:custGeom>
              <a:avLst/>
              <a:gdLst>
                <a:gd name="T0" fmla="*/ 0 w 39333"/>
                <a:gd name="T1" fmla="*/ 2570 h 15960"/>
                <a:gd name="T2" fmla="*/ 0 w 39333"/>
                <a:gd name="T3" fmla="*/ 2570 h 15960"/>
                <a:gd name="T4" fmla="*/ 10992 w 39333"/>
                <a:gd name="T5" fmla="*/ 13001 h 15960"/>
                <a:gd name="T6" fmla="*/ 26016 w 39333"/>
                <a:gd name="T7" fmla="*/ 14979 h 15960"/>
                <a:gd name="T8" fmla="*/ 39333 w 39333"/>
                <a:gd name="T9" fmla="*/ 7748 h 15960"/>
                <a:gd name="T10" fmla="*/ 39333 w 39333"/>
                <a:gd name="T11" fmla="*/ 7748 h 15960"/>
                <a:gd name="T12" fmla="*/ 39333 w 39333"/>
                <a:gd name="T13" fmla="*/ 7748 h 15960"/>
                <a:gd name="T14" fmla="*/ 0 w 39333"/>
                <a:gd name="T15" fmla="*/ 2570 h 15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333" h="15960">
                  <a:moveTo>
                    <a:pt x="0" y="2570"/>
                  </a:moveTo>
                  <a:cubicBezTo>
                    <a:pt x="0" y="2570"/>
                    <a:pt x="0" y="2570"/>
                    <a:pt x="0" y="2570"/>
                  </a:cubicBezTo>
                  <a:cubicBezTo>
                    <a:pt x="2384" y="6969"/>
                    <a:pt x="6130" y="10682"/>
                    <a:pt x="10992" y="13001"/>
                  </a:cubicBezTo>
                  <a:cubicBezTo>
                    <a:pt x="15506" y="15159"/>
                    <a:pt x="20720" y="15960"/>
                    <a:pt x="26016" y="14979"/>
                  </a:cubicBezTo>
                  <a:cubicBezTo>
                    <a:pt x="30936" y="14071"/>
                    <a:pt x="35625" y="11655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27514" y="2099"/>
                    <a:pt x="13866" y="0"/>
                    <a:pt x="0" y="2570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2059289" y="2996952"/>
            <a:ext cx="4455881" cy="1572384"/>
          </a:xfrm>
        </p:spPr>
        <p:txBody>
          <a:bodyPr anchor="b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tähän kiitosteksti tai </a:t>
            </a:r>
            <a:r>
              <a:rPr lang="fi-FI" dirty="0" err="1"/>
              <a:t>lopetuskehoitus</a:t>
            </a:r>
            <a:endParaRPr lang="fi-FI" dirty="0"/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59290" y="4822552"/>
            <a:ext cx="2236510" cy="749149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etunimi.sukunimi@vm.fi </a:t>
            </a:r>
            <a:r>
              <a:rPr lang="es-ES" dirty="0" err="1"/>
              <a:t>Loremipsum</a:t>
            </a:r>
            <a:r>
              <a:rPr lang="es-ES" dirty="0"/>
              <a:t> dolores </a:t>
            </a:r>
            <a:r>
              <a:rPr lang="es-ES" dirty="0" err="1"/>
              <a:t>sitamet</a:t>
            </a:r>
            <a:r>
              <a:rPr lang="es-ES" dirty="0"/>
              <a:t> vm.fi</a:t>
            </a:r>
            <a:endParaRPr lang="fi-FI" dirty="0"/>
          </a:p>
        </p:txBody>
      </p:sp>
      <p:pic>
        <p:nvPicPr>
          <p:cNvPr id="15" name="Kuva 14">
            <a:extLst>
              <a:ext uri="{FF2B5EF4-FFF2-40B4-BE49-F238E27FC236}">
                <a16:creationId xmlns:a16="http://schemas.microsoft.com/office/drawing/2014/main" id="{6E19D34C-D51B-407C-A1A6-BB6CEEC5DDF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99275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tumm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9B432168-221C-4229-ABD4-620A83233A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7996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5AB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ADD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vaale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3606673C-8E2D-462A-8FED-E7C3DAE7F60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2854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Kuva 18" descr="Kuva, joka sisältää kohteen henkilö, sisä, mies, pöytä">
            <a:extLst>
              <a:ext uri="{FF2B5EF4-FFF2-40B4-BE49-F238E27FC236}">
                <a16:creationId xmlns:a16="http://schemas.microsoft.com/office/drawing/2014/main" id="{7FFB4FBC-1765-4F80-9F01-A708CFC6118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7581" y="973267"/>
            <a:ext cx="5105619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2353843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Kuva 19" descr="Nuori tyttö käyttää tietokonetta">
            <a:extLst>
              <a:ext uri="{FF2B5EF4-FFF2-40B4-BE49-F238E27FC236}">
                <a16:creationId xmlns:a16="http://schemas.microsoft.com/office/drawing/2014/main" id="{E658BAF6-19C4-470B-B394-894A756A0CD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91867" y="973267"/>
            <a:ext cx="5101333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1421398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. </a:t>
            </a:r>
            <a:br>
              <a:rPr lang="fi-FI" dirty="0"/>
            </a:br>
            <a:r>
              <a:rPr lang="fi-FI" dirty="0"/>
              <a:t>Otsikon pituus korkeintaan kaksi riviä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77F5A965-5012-417E-A4D7-9CB8DE3A3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D9E0DD3D-67FB-4C7B-917A-622EAB8FF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23515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483">
          <p15:clr>
            <a:srgbClr val="FBAE40"/>
          </p15:clr>
        </p15:guide>
        <p15:guide id="4" pos="7151">
          <p15:clr>
            <a:srgbClr val="FBAE40"/>
          </p15:clr>
        </p15:guide>
        <p15:guide id="5" orient="horz" pos="164">
          <p15:clr>
            <a:srgbClr val="FBAE40"/>
          </p15:clr>
        </p15:guide>
        <p15:guide id="6" orient="horz" pos="3793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ot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 väliotsikolla.</a:t>
            </a:r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0904BD93-F0C4-4A6C-9010-5804694C71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1050" y="1758315"/>
            <a:ext cx="10571163" cy="446549"/>
          </a:xfrm>
        </p:spPr>
        <p:txBody>
          <a:bodyPr/>
          <a:lstStyle>
            <a:lvl1pPr marL="0" indent="0">
              <a:buNone/>
              <a:defRPr b="1"/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Väli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2285999"/>
            <a:ext cx="10571480" cy="3724761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6ADF7489-4677-49C3-A1B0-538615DB37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CDDDB65-8BD7-43F3-A41C-27411B8405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113245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kaksipalstainen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1764323"/>
            <a:ext cx="5156538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1764323"/>
            <a:ext cx="5187462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652980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vertailu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7" name="Tekstin paikkamerkki 2">
            <a:extLst>
              <a:ext uri="{FF2B5EF4-FFF2-40B4-BE49-F238E27FC236}">
                <a16:creationId xmlns:a16="http://schemas.microsoft.com/office/drawing/2014/main" id="{CC5AFB07-741E-400C-B07F-CFAD1C24366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781201" y="1764323"/>
            <a:ext cx="515653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2235200"/>
            <a:ext cx="5156538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Tekstin paikkamerkki 4">
            <a:extLst>
              <a:ext uri="{FF2B5EF4-FFF2-40B4-BE49-F238E27FC236}">
                <a16:creationId xmlns:a16="http://schemas.microsoft.com/office/drawing/2014/main" id="{FE13A6AE-0F0A-413E-AE09-F64745829C8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764323"/>
            <a:ext cx="518318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2235200"/>
            <a:ext cx="5187462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8742963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Grafiikkasivu, kuva ja tekstitiivistelmä vierekkäin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6164822" cy="42480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Tekstin paikkamerkki 22">
            <a:extLst>
              <a:ext uri="{FF2B5EF4-FFF2-40B4-BE49-F238E27FC236}">
                <a16:creationId xmlns:a16="http://schemas.microsoft.com/office/drawing/2014/main" id="{3031A60E-285E-4799-8337-B7C931123A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26518" y="1959997"/>
            <a:ext cx="4286106" cy="3802327"/>
          </a:xfrm>
        </p:spPr>
        <p:txBody>
          <a:bodyPr/>
          <a:lstStyle>
            <a:lvl1pPr marL="269875" indent="-269875">
              <a:lnSpc>
                <a:spcPct val="95000"/>
              </a:lnSpc>
              <a:defRPr sz="19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1" name="Alatunnisteen paikkamerkki 10">
            <a:extLst>
              <a:ext uri="{FF2B5EF4-FFF2-40B4-BE49-F238E27FC236}">
                <a16:creationId xmlns:a16="http://schemas.microsoft.com/office/drawing/2014/main" id="{CD9B7E4D-B77A-4CF1-B584-356F4C4B32D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2" name="Dian numeron paikkamerkki 11">
            <a:extLst>
              <a:ext uri="{FF2B5EF4-FFF2-40B4-BE49-F238E27FC236}">
                <a16:creationId xmlns:a16="http://schemas.microsoft.com/office/drawing/2014/main" id="{9B664EFA-778C-4D9B-A7A3-46CB8D5370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28380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ot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 väliotsikolla.</a:t>
            </a:r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0904BD93-F0C4-4A6C-9010-5804694C71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1050" y="1758315"/>
            <a:ext cx="10571163" cy="446549"/>
          </a:xfrm>
        </p:spPr>
        <p:txBody>
          <a:bodyPr/>
          <a:lstStyle>
            <a:lvl1pPr marL="0" indent="0">
              <a:buNone/>
              <a:defRPr b="1"/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Väli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2285999"/>
            <a:ext cx="10571480" cy="3724761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6ADF7489-4677-49C3-A1B0-538615DB37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CDDDB65-8BD7-43F3-A41C-27411B8405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322699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tekstillinen 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320" y="306000"/>
            <a:ext cx="5025648" cy="1325563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/>
              <a:t>Tekstisivu kuvalla, </a:t>
            </a:r>
            <a:br>
              <a:rPr lang="fi-FI" dirty="0"/>
            </a:br>
            <a:r>
              <a:rPr lang="fi-FI" dirty="0"/>
              <a:t>lyhyt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5025648" cy="4248000"/>
          </a:xfrm>
        </p:spPr>
        <p:txBody>
          <a:bodyPr/>
          <a:lstStyle>
            <a:lvl1pPr marL="269875" indent="-269875">
              <a:defRPr sz="2200"/>
            </a:lvl1pPr>
            <a:lvl2pPr marL="625475" indent="-265113">
              <a:defRPr/>
            </a:lvl2pPr>
            <a:lvl3pPr marL="715962" indent="0">
              <a:buNone/>
              <a:defRPr/>
            </a:lvl3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Kuvan paikkamerkki 19">
            <a:extLst>
              <a:ext uri="{FF2B5EF4-FFF2-40B4-BE49-F238E27FC236}">
                <a16:creationId xmlns:a16="http://schemas.microsoft.com/office/drawing/2014/main" id="{1CD34E48-431E-47C9-8075-E449B22F1C1A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3461" y="-4484"/>
            <a:ext cx="6086310" cy="6866965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6086309"/>
              <a:gd name="connsiteY0" fmla="*/ 4483 h 6862483"/>
              <a:gd name="connsiteX1" fmla="*/ 6086309 w 6086309"/>
              <a:gd name="connsiteY1" fmla="*/ 0 h 6862483"/>
              <a:gd name="connsiteX2" fmla="*/ 4087180 w 6086309"/>
              <a:gd name="connsiteY2" fmla="*/ 6862483 h 6862483"/>
              <a:gd name="connsiteX3" fmla="*/ 655475 w 6086309"/>
              <a:gd name="connsiteY3" fmla="*/ 6862483 h 6862483"/>
              <a:gd name="connsiteX4" fmla="*/ 5 w 6086309"/>
              <a:gd name="connsiteY4" fmla="*/ 3409885 h 6862483"/>
              <a:gd name="connsiteX5" fmla="*/ 655475 w 6086309"/>
              <a:gd name="connsiteY5" fmla="*/ 4483 h 6862483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86310" h="6866965">
                <a:moveTo>
                  <a:pt x="655475" y="4483"/>
                </a:moveTo>
                <a:lnTo>
                  <a:pt x="6086309" y="0"/>
                </a:lnTo>
                <a:cubicBezTo>
                  <a:pt x="6086309" y="2288988"/>
                  <a:pt x="6086310" y="4577977"/>
                  <a:pt x="6086310" y="6866965"/>
                </a:cubicBezTo>
                <a:lnTo>
                  <a:pt x="655475" y="6862483"/>
                </a:lnTo>
                <a:cubicBezTo>
                  <a:pt x="198241" y="5584022"/>
                  <a:pt x="-1047" y="4542725"/>
                  <a:pt x="5" y="3409885"/>
                </a:cubicBezTo>
                <a:cubicBezTo>
                  <a:pt x="1057" y="2277045"/>
                  <a:pt x="220670" y="999399"/>
                  <a:pt x="655475" y="4483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9700E9CE-DAC8-4704-A149-43A60B27A84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22E9968-6017-4856-A4C4-E7595C39E8B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257585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415F941-B7C0-48FA-BC12-7B7C22682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Muokkaa perustyyl. napsautt.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7CD8110F-CCB3-4F2C-A24C-583951140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DD1E9F2C-6E23-43A9-A7DE-626D34CED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690774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CBD59BAD-0669-42AB-9904-BB6AA4465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2F973901-92EE-424C-B835-C2D00C6C5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2038185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356350" cy="252698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</a:t>
            </a:r>
            <a:br>
              <a:rPr lang="fi-FI" dirty="0"/>
            </a:br>
            <a:r>
              <a:rPr lang="fi-FI" dirty="0"/>
              <a:t>esityksen </a:t>
            </a:r>
            <a:br>
              <a:rPr lang="fi-FI" dirty="0"/>
            </a:br>
            <a:r>
              <a:rPr lang="fi-FI" dirty="0"/>
              <a:t>jäsentämiseen, </a:t>
            </a:r>
            <a:br>
              <a:rPr lang="fi-FI" dirty="0"/>
            </a:br>
            <a:r>
              <a:rPr lang="fi-FI" dirty="0"/>
              <a:t>4 riviä lyhyellä tekstill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9F8BFF4-EC86-4A85-B914-B241AE572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4F20DE8F-8CBA-4069-B1E4-BBCC9BE8A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383898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932414" cy="87193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D25FCF1C-6312-4783-B492-30778B19C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5" name="Dian numeron paikkamerkki 14">
            <a:extLst>
              <a:ext uri="{FF2B5EF4-FFF2-40B4-BE49-F238E27FC236}">
                <a16:creationId xmlns:a16="http://schemas.microsoft.com/office/drawing/2014/main" id="{B58E6CF3-2C51-4D95-85AA-2F72E91E1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8897277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195567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esityksen </a:t>
            </a:r>
            <a:br>
              <a:rPr lang="fi-FI" dirty="0"/>
            </a:br>
            <a:r>
              <a:rPr lang="fi-FI" dirty="0"/>
              <a:t>jäsentämiseen pitkällä tekstillä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5A33775A-8692-4630-B0A7-351A15032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DBD8842B-CE46-458C-9327-5C7AC4214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9239491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936000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, yksi sana tai 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0896776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213C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0" name="Kuvan paikkamerkki 19">
            <a:extLst>
              <a:ext uri="{FF2B5EF4-FFF2-40B4-BE49-F238E27FC236}">
                <a16:creationId xmlns:a16="http://schemas.microsoft.com/office/drawing/2014/main" id="{8DB9BFF2-C31A-4614-8C44-870E61EDC78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549609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rakennus, mies, katettu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29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222720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3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tuulimylly, ulko, näkymä, aut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7C376E3-2ABB-974B-9114-E2184E099A4F}"/>
              </a:ext>
            </a:extLst>
          </p:cNvPr>
          <p:cNvSpPr txBox="1"/>
          <p:nvPr userDrawn="1"/>
        </p:nvSpPr>
        <p:spPr>
          <a:xfrm>
            <a:off x="5405163" y="476672"/>
            <a:ext cx="453650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FI" dirty="0">
                <a:solidFill>
                  <a:schemeClr val="bg1"/>
                </a:solidFill>
              </a:rPr>
              <a:t>Tämä kuva pois, tilalle kuvalaatikko</a:t>
            </a:r>
          </a:p>
        </p:txBody>
      </p:sp>
    </p:spTree>
    <p:extLst>
      <p:ext uri="{BB962C8B-B14F-4D97-AF65-F5344CB8AC3E}">
        <p14:creationId xmlns:p14="http://schemas.microsoft.com/office/powerpoint/2010/main" val="25891164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kaksipalstainen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1764323"/>
            <a:ext cx="5156538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1764323"/>
            <a:ext cx="5187462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675481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pöytä, istuminen, kirjoituspöytä, tietokone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22000" cy="6858000"/>
          </a:xfrm>
          <a:prstGeom prst="rect">
            <a:avLst/>
          </a:prstGeom>
        </p:spPr>
      </p:pic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6596746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1">
            <a:extLst>
              <a:ext uri="{FF2B5EF4-FFF2-40B4-BE49-F238E27FC236}">
                <a16:creationId xmlns:a16="http://schemas.microsoft.com/office/drawing/2014/main" id="{A9699318-17A8-4406-8545-15EC6D0D763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Kuvan paikkamerkki 19">
            <a:extLst>
              <a:ext uri="{FF2B5EF4-FFF2-40B4-BE49-F238E27FC236}">
                <a16:creationId xmlns:a16="http://schemas.microsoft.com/office/drawing/2014/main" id="{C20D1C9F-02E1-4C00-846A-9CC67CA2EDE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2139769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sp>
        <p:nvSpPr>
          <p:cNvPr id="17" name="Kuvan paikkamerkki 19">
            <a:extLst>
              <a:ext uri="{FF2B5EF4-FFF2-40B4-BE49-F238E27FC236}">
                <a16:creationId xmlns:a16="http://schemas.microsoft.com/office/drawing/2014/main" id="{79A4B3D4-F743-4ABE-BF43-A842D73C48B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321227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piiri, hiihtäminen, kell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30" y="0"/>
            <a:ext cx="4108704" cy="6858000"/>
          </a:xfrm>
          <a:prstGeom prst="rect">
            <a:avLst/>
          </a:prstGeom>
        </p:spPr>
      </p:pic>
      <p:sp>
        <p:nvSpPr>
          <p:cNvPr id="24" name="Freeform 10">
            <a:extLst>
              <a:ext uri="{FF2B5EF4-FFF2-40B4-BE49-F238E27FC236}">
                <a16:creationId xmlns:a16="http://schemas.microsoft.com/office/drawing/2014/main" id="{E5B9F0F0-2539-458B-AAF7-535BE5D78F43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8756990" cy="6857999"/>
          </a:xfrm>
          <a:custGeom>
            <a:avLst/>
            <a:gdLst>
              <a:gd name="T0" fmla="*/ 0 w 48666"/>
              <a:gd name="T1" fmla="*/ 38100 h 38100"/>
              <a:gd name="T2" fmla="*/ 48666 w 48666"/>
              <a:gd name="T3" fmla="*/ 38100 h 38100"/>
              <a:gd name="T4" fmla="*/ 46174 w 48666"/>
              <a:gd name="T5" fmla="*/ 29774 h 38100"/>
              <a:gd name="T6" fmla="*/ 46174 w 48666"/>
              <a:gd name="T7" fmla="*/ 29774 h 38100"/>
              <a:gd name="T8" fmla="*/ 48657 w 48666"/>
              <a:gd name="T9" fmla="*/ 0 h 38100"/>
              <a:gd name="T10" fmla="*/ 0 w 48666"/>
              <a:gd name="T11" fmla="*/ 0 h 38100"/>
              <a:gd name="T12" fmla="*/ 0 w 48666"/>
              <a:gd name="T13" fmla="*/ 38100 h 38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666" h="38100">
                <a:moveTo>
                  <a:pt x="0" y="38100"/>
                </a:moveTo>
                <a:lnTo>
                  <a:pt x="48666" y="38100"/>
                </a:lnTo>
                <a:cubicBezTo>
                  <a:pt x="47620" y="35440"/>
                  <a:pt x="46781" y="32661"/>
                  <a:pt x="46174" y="29774"/>
                </a:cubicBezTo>
                <a:lnTo>
                  <a:pt x="46174" y="29774"/>
                </a:lnTo>
                <a:cubicBezTo>
                  <a:pt x="44128" y="20120"/>
                  <a:pt x="44799" y="9795"/>
                  <a:pt x="48657" y="0"/>
                </a:cubicBez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365AB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94090805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743A037A-3296-40C2-9074-84427B0EB2B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6756211" cy="6858000"/>
            <a:chOff x="2724150" y="6350"/>
            <a:chExt cx="6743700" cy="6845301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89334710-4573-413A-9371-58D53E96403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6350"/>
              <a:ext cx="6743700" cy="6845300"/>
            </a:xfrm>
            <a:custGeom>
              <a:avLst/>
              <a:gdLst>
                <a:gd name="T0" fmla="*/ 37531 w 37531"/>
                <a:gd name="T1" fmla="*/ 38100 h 38100"/>
                <a:gd name="T2" fmla="*/ 35005 w 37531"/>
                <a:gd name="T3" fmla="*/ 29739 h 38100"/>
                <a:gd name="T4" fmla="*/ 37500 w 37531"/>
                <a:gd name="T5" fmla="*/ 0 h 38100"/>
                <a:gd name="T6" fmla="*/ 0 w 37531"/>
                <a:gd name="T7" fmla="*/ 0 h 38100"/>
                <a:gd name="T8" fmla="*/ 0 w 37531"/>
                <a:gd name="T9" fmla="*/ 38100 h 38100"/>
                <a:gd name="T10" fmla="*/ 37531 w 37531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531" h="38100">
                  <a:moveTo>
                    <a:pt x="37531" y="38100"/>
                  </a:moveTo>
                  <a:cubicBezTo>
                    <a:pt x="36473" y="35432"/>
                    <a:pt x="35622" y="32640"/>
                    <a:pt x="35005" y="29739"/>
                  </a:cubicBezTo>
                  <a:cubicBezTo>
                    <a:pt x="32947" y="20093"/>
                    <a:pt x="33623" y="9779"/>
                    <a:pt x="37500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37531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025CC1E-66FA-4412-98F7-D19894F2D9B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4011613"/>
              <a:ext cx="6443663" cy="2840038"/>
            </a:xfrm>
            <a:custGeom>
              <a:avLst/>
              <a:gdLst>
                <a:gd name="T0" fmla="*/ 35867 w 35867"/>
                <a:gd name="T1" fmla="*/ 15808 h 15808"/>
                <a:gd name="T2" fmla="*/ 0 w 35867"/>
                <a:gd name="T3" fmla="*/ 0 h 15808"/>
                <a:gd name="T4" fmla="*/ 0 w 35867"/>
                <a:gd name="T5" fmla="*/ 15808 h 15808"/>
                <a:gd name="T6" fmla="*/ 35867 w 35867"/>
                <a:gd name="T7" fmla="*/ 15808 h 15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867" h="15808">
                  <a:moveTo>
                    <a:pt x="35867" y="15808"/>
                  </a:moveTo>
                  <a:cubicBezTo>
                    <a:pt x="24829" y="8026"/>
                    <a:pt x="12618" y="2772"/>
                    <a:pt x="0" y="0"/>
                  </a:cubicBezTo>
                  <a:lnTo>
                    <a:pt x="0" y="15808"/>
                  </a:lnTo>
                  <a:lnTo>
                    <a:pt x="35867" y="1580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4916190" cy="180803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Asianostosivu </a:t>
            </a:r>
            <a:br>
              <a:rPr lang="fi-FI" dirty="0"/>
            </a:br>
            <a:r>
              <a:rPr lang="fi-FI" dirty="0"/>
              <a:t>esityksen jäsentämiseen, 3 rivin otsikko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53880" y="1514325"/>
            <a:ext cx="4658744" cy="4248000"/>
          </a:xfrm>
        </p:spPr>
        <p:txBody>
          <a:bodyPr/>
          <a:lstStyle>
            <a:lvl1pPr marL="269875" indent="-269875">
              <a:lnSpc>
                <a:spcPct val="95000"/>
              </a:lnSpc>
              <a:defRPr sz="22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38A531D9-3794-4382-A4CC-D062827D8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E9C40528-505B-4E57-81CB-FA8E7278B7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0719388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yhmä 17">
            <a:extLst>
              <a:ext uri="{FF2B5EF4-FFF2-40B4-BE49-F238E27FC236}">
                <a16:creationId xmlns:a16="http://schemas.microsoft.com/office/drawing/2014/main" id="{BF83FD59-B2EE-42A4-AC03-53869A1132E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0"/>
            <a:ext cx="12193200" cy="6858000"/>
            <a:chOff x="166688" y="158750"/>
            <a:chExt cx="12163425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52F1267F-7172-44B3-9A7E-906E5E4A0F8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1652588"/>
              <a:ext cx="4445000" cy="5351463"/>
            </a:xfrm>
            <a:custGeom>
              <a:avLst/>
              <a:gdLst>
                <a:gd name="T0" fmla="*/ 24755 w 24755"/>
                <a:gd name="T1" fmla="*/ 0 h 29783"/>
                <a:gd name="T2" fmla="*/ 12889 w 24755"/>
                <a:gd name="T3" fmla="*/ 9835 h 29783"/>
                <a:gd name="T4" fmla="*/ 0 w 24755"/>
                <a:gd name="T5" fmla="*/ 29783 h 29783"/>
                <a:gd name="T6" fmla="*/ 24755 w 24755"/>
                <a:gd name="T7" fmla="*/ 29783 h 29783"/>
                <a:gd name="T8" fmla="*/ 24755 w 24755"/>
                <a:gd name="T9" fmla="*/ 0 h 29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55" h="29783">
                  <a:moveTo>
                    <a:pt x="24755" y="0"/>
                  </a:moveTo>
                  <a:cubicBezTo>
                    <a:pt x="20509" y="2731"/>
                    <a:pt x="16519" y="6009"/>
                    <a:pt x="12889" y="9835"/>
                  </a:cubicBezTo>
                  <a:cubicBezTo>
                    <a:pt x="7462" y="15544"/>
                    <a:pt x="3054" y="22280"/>
                    <a:pt x="0" y="29783"/>
                  </a:cubicBezTo>
                  <a:lnTo>
                    <a:pt x="24755" y="29783"/>
                  </a:lnTo>
                  <a:lnTo>
                    <a:pt x="24755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3FDD5063-1FA4-49AC-88A8-BBD3F632236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2028825"/>
              <a:ext cx="12163425" cy="4975225"/>
            </a:xfrm>
            <a:custGeom>
              <a:avLst/>
              <a:gdLst>
                <a:gd name="T0" fmla="*/ 67733 w 67733"/>
                <a:gd name="T1" fmla="*/ 15074 h 27696"/>
                <a:gd name="T2" fmla="*/ 55867 w 67733"/>
                <a:gd name="T3" fmla="*/ 7748 h 27696"/>
                <a:gd name="T4" fmla="*/ 16534 w 67733"/>
                <a:gd name="T5" fmla="*/ 2570 h 27696"/>
                <a:gd name="T6" fmla="*/ 0 w 67733"/>
                <a:gd name="T7" fmla="*/ 8021 h 27696"/>
                <a:gd name="T8" fmla="*/ 0 w 67733"/>
                <a:gd name="T9" fmla="*/ 27696 h 27696"/>
                <a:gd name="T10" fmla="*/ 67733 w 67733"/>
                <a:gd name="T11" fmla="*/ 27696 h 27696"/>
                <a:gd name="T12" fmla="*/ 67733 w 67733"/>
                <a:gd name="T13" fmla="*/ 15074 h 27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7696">
                  <a:moveTo>
                    <a:pt x="67733" y="15074"/>
                  </a:moveTo>
                  <a:cubicBezTo>
                    <a:pt x="64127" y="12264"/>
                    <a:pt x="60164" y="9798"/>
                    <a:pt x="55867" y="7748"/>
                  </a:cubicBezTo>
                  <a:cubicBezTo>
                    <a:pt x="44048" y="2099"/>
                    <a:pt x="30400" y="0"/>
                    <a:pt x="16534" y="2570"/>
                  </a:cubicBezTo>
                  <a:cubicBezTo>
                    <a:pt x="10848" y="3619"/>
                    <a:pt x="5281" y="5438"/>
                    <a:pt x="0" y="8021"/>
                  </a:cubicBezTo>
                  <a:lnTo>
                    <a:pt x="0" y="27696"/>
                  </a:lnTo>
                  <a:lnTo>
                    <a:pt x="67733" y="27696"/>
                  </a:lnTo>
                  <a:lnTo>
                    <a:pt x="67733" y="1507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7D958EC3-4B66-4A2A-814C-45DFD9E57F7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748588" y="158750"/>
              <a:ext cx="3668713" cy="3260725"/>
            </a:xfrm>
            <a:custGeom>
              <a:avLst/>
              <a:gdLst>
                <a:gd name="T0" fmla="*/ 0 w 20424"/>
                <a:gd name="T1" fmla="*/ 0 h 18152"/>
                <a:gd name="T2" fmla="*/ 2651 w 20424"/>
                <a:gd name="T3" fmla="*/ 7721 h 18152"/>
                <a:gd name="T4" fmla="*/ 13643 w 20424"/>
                <a:gd name="T5" fmla="*/ 18152 h 18152"/>
                <a:gd name="T6" fmla="*/ 20167 w 20424"/>
                <a:gd name="T7" fmla="*/ 4475 h 18152"/>
                <a:gd name="T8" fmla="*/ 20347 w 20424"/>
                <a:gd name="T9" fmla="*/ 0 h 18152"/>
                <a:gd name="T10" fmla="*/ 0 w 20424"/>
                <a:gd name="T11" fmla="*/ 0 h 18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24" h="18152">
                  <a:moveTo>
                    <a:pt x="0" y="0"/>
                  </a:moveTo>
                  <a:cubicBezTo>
                    <a:pt x="433" y="2635"/>
                    <a:pt x="1305" y="5243"/>
                    <a:pt x="2651" y="7721"/>
                  </a:cubicBezTo>
                  <a:cubicBezTo>
                    <a:pt x="5035" y="12120"/>
                    <a:pt x="8781" y="15833"/>
                    <a:pt x="13643" y="18152"/>
                  </a:cubicBezTo>
                  <a:cubicBezTo>
                    <a:pt x="17090" y="14526"/>
                    <a:pt x="19464" y="9815"/>
                    <a:pt x="20167" y="4475"/>
                  </a:cubicBezTo>
                  <a:cubicBezTo>
                    <a:pt x="20362" y="2999"/>
                    <a:pt x="20424" y="1501"/>
                    <a:pt x="2034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6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F647EA55-DBDB-4E2D-AD6D-F126CFACA5F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3419475"/>
              <a:ext cx="4445000" cy="3584575"/>
            </a:xfrm>
            <a:custGeom>
              <a:avLst/>
              <a:gdLst>
                <a:gd name="T0" fmla="*/ 24755 w 24755"/>
                <a:gd name="T1" fmla="*/ 7326 h 19948"/>
                <a:gd name="T2" fmla="*/ 12889 w 24755"/>
                <a:gd name="T3" fmla="*/ 0 h 19948"/>
                <a:gd name="T4" fmla="*/ 12889 w 24755"/>
                <a:gd name="T5" fmla="*/ 0 h 19948"/>
                <a:gd name="T6" fmla="*/ 12889 w 24755"/>
                <a:gd name="T7" fmla="*/ 0 h 19948"/>
                <a:gd name="T8" fmla="*/ 0 w 24755"/>
                <a:gd name="T9" fmla="*/ 19948 h 19948"/>
                <a:gd name="T10" fmla="*/ 24755 w 24755"/>
                <a:gd name="T11" fmla="*/ 19948 h 19948"/>
                <a:gd name="T12" fmla="*/ 24755 w 24755"/>
                <a:gd name="T13" fmla="*/ 7326 h 19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755" h="19948">
                  <a:moveTo>
                    <a:pt x="24755" y="7326"/>
                  </a:moveTo>
                  <a:cubicBezTo>
                    <a:pt x="21149" y="4516"/>
                    <a:pt x="17186" y="205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7462" y="5709"/>
                    <a:pt x="3054" y="12445"/>
                    <a:pt x="0" y="19948"/>
                  </a:cubicBezTo>
                  <a:lnTo>
                    <a:pt x="24755" y="19948"/>
                  </a:lnTo>
                  <a:lnTo>
                    <a:pt x="24755" y="7326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24AB4DAC-943D-40D7-9EED-76F69D6845E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199688" y="1652588"/>
              <a:ext cx="2130425" cy="2232025"/>
            </a:xfrm>
            <a:custGeom>
              <a:avLst/>
              <a:gdLst>
                <a:gd name="T0" fmla="*/ 11866 w 11866"/>
                <a:gd name="T1" fmla="*/ 0 h 12419"/>
                <a:gd name="T2" fmla="*/ 0 w 11866"/>
                <a:gd name="T3" fmla="*/ 9835 h 12419"/>
                <a:gd name="T4" fmla="*/ 0 w 11866"/>
                <a:gd name="T5" fmla="*/ 9835 h 12419"/>
                <a:gd name="T6" fmla="*/ 0 w 11866"/>
                <a:gd name="T7" fmla="*/ 9835 h 12419"/>
                <a:gd name="T8" fmla="*/ 11866 w 11866"/>
                <a:gd name="T9" fmla="*/ 12190 h 12419"/>
                <a:gd name="T10" fmla="*/ 11866 w 11866"/>
                <a:gd name="T11" fmla="*/ 0 h 12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66" h="12419">
                  <a:moveTo>
                    <a:pt x="11866" y="0"/>
                  </a:moveTo>
                  <a:cubicBezTo>
                    <a:pt x="7620" y="2731"/>
                    <a:pt x="3630" y="6009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3613" y="11562"/>
                    <a:pt x="7674" y="12419"/>
                    <a:pt x="11866" y="12190"/>
                  </a:cubicBezTo>
                  <a:lnTo>
                    <a:pt x="11866" y="0"/>
                  </a:ln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091207B8-FCA3-4AF6-8D9D-ED83A74F3C4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36901" y="2028825"/>
              <a:ext cx="7062788" cy="2867025"/>
            </a:xfrm>
            <a:custGeom>
              <a:avLst/>
              <a:gdLst>
                <a:gd name="T0" fmla="*/ 0 w 39333"/>
                <a:gd name="T1" fmla="*/ 2570 h 15960"/>
                <a:gd name="T2" fmla="*/ 0 w 39333"/>
                <a:gd name="T3" fmla="*/ 2570 h 15960"/>
                <a:gd name="T4" fmla="*/ 10992 w 39333"/>
                <a:gd name="T5" fmla="*/ 13001 h 15960"/>
                <a:gd name="T6" fmla="*/ 26016 w 39333"/>
                <a:gd name="T7" fmla="*/ 14979 h 15960"/>
                <a:gd name="T8" fmla="*/ 39333 w 39333"/>
                <a:gd name="T9" fmla="*/ 7748 h 15960"/>
                <a:gd name="T10" fmla="*/ 39333 w 39333"/>
                <a:gd name="T11" fmla="*/ 7748 h 15960"/>
                <a:gd name="T12" fmla="*/ 39333 w 39333"/>
                <a:gd name="T13" fmla="*/ 7748 h 15960"/>
                <a:gd name="T14" fmla="*/ 0 w 39333"/>
                <a:gd name="T15" fmla="*/ 2570 h 15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333" h="15960">
                  <a:moveTo>
                    <a:pt x="0" y="2570"/>
                  </a:moveTo>
                  <a:cubicBezTo>
                    <a:pt x="0" y="2570"/>
                    <a:pt x="0" y="2570"/>
                    <a:pt x="0" y="2570"/>
                  </a:cubicBezTo>
                  <a:cubicBezTo>
                    <a:pt x="2384" y="6969"/>
                    <a:pt x="6130" y="10682"/>
                    <a:pt x="10992" y="13001"/>
                  </a:cubicBezTo>
                  <a:cubicBezTo>
                    <a:pt x="15506" y="15159"/>
                    <a:pt x="20720" y="15960"/>
                    <a:pt x="26016" y="14979"/>
                  </a:cubicBezTo>
                  <a:cubicBezTo>
                    <a:pt x="30936" y="14071"/>
                    <a:pt x="35625" y="11655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27514" y="2099"/>
                    <a:pt x="13866" y="0"/>
                    <a:pt x="0" y="2570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2059289" y="2996952"/>
            <a:ext cx="4455881" cy="1572384"/>
          </a:xfrm>
        </p:spPr>
        <p:txBody>
          <a:bodyPr anchor="b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tähän kiitosteksti tai </a:t>
            </a:r>
            <a:r>
              <a:rPr lang="fi-FI" dirty="0" err="1"/>
              <a:t>lopetuskehoitus</a:t>
            </a:r>
            <a:endParaRPr lang="fi-FI" dirty="0"/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59290" y="4822552"/>
            <a:ext cx="2236510" cy="749149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etunimi.sukunimi@vm.fi </a:t>
            </a:r>
            <a:r>
              <a:rPr lang="es-ES" dirty="0" err="1"/>
              <a:t>Loremipsum</a:t>
            </a:r>
            <a:r>
              <a:rPr lang="es-ES" dirty="0"/>
              <a:t> dolores </a:t>
            </a:r>
            <a:r>
              <a:rPr lang="es-ES" dirty="0" err="1"/>
              <a:t>sitamet</a:t>
            </a:r>
            <a:r>
              <a:rPr lang="es-ES" dirty="0"/>
              <a:t> vm.fi</a:t>
            </a:r>
            <a:endParaRPr lang="fi-FI" dirty="0"/>
          </a:p>
        </p:txBody>
      </p:sp>
      <p:pic>
        <p:nvPicPr>
          <p:cNvPr id="15" name="Kuva 14">
            <a:extLst>
              <a:ext uri="{FF2B5EF4-FFF2-40B4-BE49-F238E27FC236}">
                <a16:creationId xmlns:a16="http://schemas.microsoft.com/office/drawing/2014/main" id="{6E19D34C-D51B-407C-A1A6-BB6CEEC5DDF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18598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tumm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9B432168-221C-4229-ABD4-620A83233A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7479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5AB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ADD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vaale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3606673C-8E2D-462A-8FED-E7C3DAE7F60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50711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Kuva 18" descr="Kuva, joka sisältää kohteen henkilö, sisä, mies, pöytä">
            <a:extLst>
              <a:ext uri="{FF2B5EF4-FFF2-40B4-BE49-F238E27FC236}">
                <a16:creationId xmlns:a16="http://schemas.microsoft.com/office/drawing/2014/main" id="{7FFB4FBC-1765-4F80-9F01-A708CFC6118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7581" y="973267"/>
            <a:ext cx="5105619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14317234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Kuva 19" descr="Nuori tyttö käyttää tietokonetta">
            <a:extLst>
              <a:ext uri="{FF2B5EF4-FFF2-40B4-BE49-F238E27FC236}">
                <a16:creationId xmlns:a16="http://schemas.microsoft.com/office/drawing/2014/main" id="{E658BAF6-19C4-470B-B394-894A756A0CD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91867" y="973267"/>
            <a:ext cx="5101333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770812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vertailu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7" name="Tekstin paikkamerkki 2">
            <a:extLst>
              <a:ext uri="{FF2B5EF4-FFF2-40B4-BE49-F238E27FC236}">
                <a16:creationId xmlns:a16="http://schemas.microsoft.com/office/drawing/2014/main" id="{CC5AFB07-741E-400C-B07F-CFAD1C24366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781201" y="1764323"/>
            <a:ext cx="515653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2235200"/>
            <a:ext cx="5156538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Tekstin paikkamerkki 4">
            <a:extLst>
              <a:ext uri="{FF2B5EF4-FFF2-40B4-BE49-F238E27FC236}">
                <a16:creationId xmlns:a16="http://schemas.microsoft.com/office/drawing/2014/main" id="{FE13A6AE-0F0A-413E-AE09-F64745829C8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764323"/>
            <a:ext cx="518318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2235200"/>
            <a:ext cx="5187462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1194936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. </a:t>
            </a:r>
            <a:br>
              <a:rPr lang="fi-FI" dirty="0"/>
            </a:br>
            <a:r>
              <a:rPr lang="fi-FI" dirty="0"/>
              <a:t>Otsikon pituus korkeintaan kaksi riviä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77F5A965-5012-417E-A4D7-9CB8DE3A3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D9E0DD3D-67FB-4C7B-917A-622EAB8FF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968419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ot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 väliotsikolla.</a:t>
            </a:r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0904BD93-F0C4-4A6C-9010-5804694C71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1050" y="1758315"/>
            <a:ext cx="10571163" cy="446549"/>
          </a:xfrm>
        </p:spPr>
        <p:txBody>
          <a:bodyPr/>
          <a:lstStyle>
            <a:lvl1pPr marL="0" indent="0">
              <a:buNone/>
              <a:defRPr b="1"/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Väli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2285999"/>
            <a:ext cx="10571480" cy="3724761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6ADF7489-4677-49C3-A1B0-538615DB37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CDDDB65-8BD7-43F3-A41C-27411B8405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363783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kaksipalstainen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1764323"/>
            <a:ext cx="5156538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1764323"/>
            <a:ext cx="5187462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2842907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vertailu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7" name="Tekstin paikkamerkki 2">
            <a:extLst>
              <a:ext uri="{FF2B5EF4-FFF2-40B4-BE49-F238E27FC236}">
                <a16:creationId xmlns:a16="http://schemas.microsoft.com/office/drawing/2014/main" id="{CC5AFB07-741E-400C-B07F-CFAD1C24366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781201" y="1764323"/>
            <a:ext cx="515653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2235200"/>
            <a:ext cx="5156538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Tekstin paikkamerkki 4">
            <a:extLst>
              <a:ext uri="{FF2B5EF4-FFF2-40B4-BE49-F238E27FC236}">
                <a16:creationId xmlns:a16="http://schemas.microsoft.com/office/drawing/2014/main" id="{FE13A6AE-0F0A-413E-AE09-F64745829C8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764323"/>
            <a:ext cx="518318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2235200"/>
            <a:ext cx="5187462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7187506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Grafiikkasivu, kuva ja tekstitiivistelmä vierekkäin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6164822" cy="42480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Tekstin paikkamerkki 22">
            <a:extLst>
              <a:ext uri="{FF2B5EF4-FFF2-40B4-BE49-F238E27FC236}">
                <a16:creationId xmlns:a16="http://schemas.microsoft.com/office/drawing/2014/main" id="{3031A60E-285E-4799-8337-B7C931123A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26518" y="1959997"/>
            <a:ext cx="4286106" cy="3802327"/>
          </a:xfrm>
        </p:spPr>
        <p:txBody>
          <a:bodyPr/>
          <a:lstStyle>
            <a:lvl1pPr marL="269875" indent="-269875">
              <a:lnSpc>
                <a:spcPct val="95000"/>
              </a:lnSpc>
              <a:defRPr sz="19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1" name="Alatunnisteen paikkamerkki 10">
            <a:extLst>
              <a:ext uri="{FF2B5EF4-FFF2-40B4-BE49-F238E27FC236}">
                <a16:creationId xmlns:a16="http://schemas.microsoft.com/office/drawing/2014/main" id="{CD9B7E4D-B77A-4CF1-B584-356F4C4B32D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2" name="Dian numeron paikkamerkki 11">
            <a:extLst>
              <a:ext uri="{FF2B5EF4-FFF2-40B4-BE49-F238E27FC236}">
                <a16:creationId xmlns:a16="http://schemas.microsoft.com/office/drawing/2014/main" id="{9B664EFA-778C-4D9B-A7A3-46CB8D5370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614747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tekstillinen 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320" y="306000"/>
            <a:ext cx="5025648" cy="1325563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/>
              <a:t>Tekstisivu kuvalla, </a:t>
            </a:r>
            <a:br>
              <a:rPr lang="fi-FI" dirty="0"/>
            </a:br>
            <a:r>
              <a:rPr lang="fi-FI" dirty="0"/>
              <a:t>lyhyt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5025648" cy="4248000"/>
          </a:xfrm>
        </p:spPr>
        <p:txBody>
          <a:bodyPr/>
          <a:lstStyle>
            <a:lvl1pPr marL="269875" indent="-269875">
              <a:defRPr sz="2200"/>
            </a:lvl1pPr>
            <a:lvl2pPr marL="625475" indent="-265113">
              <a:defRPr/>
            </a:lvl2pPr>
            <a:lvl3pPr marL="715962" indent="0">
              <a:buNone/>
              <a:defRPr/>
            </a:lvl3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Kuvan paikkamerkki 19">
            <a:extLst>
              <a:ext uri="{FF2B5EF4-FFF2-40B4-BE49-F238E27FC236}">
                <a16:creationId xmlns:a16="http://schemas.microsoft.com/office/drawing/2014/main" id="{1CD34E48-431E-47C9-8075-E449B22F1C1A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3461" y="-4484"/>
            <a:ext cx="6086310" cy="6866965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6086309"/>
              <a:gd name="connsiteY0" fmla="*/ 4483 h 6862483"/>
              <a:gd name="connsiteX1" fmla="*/ 6086309 w 6086309"/>
              <a:gd name="connsiteY1" fmla="*/ 0 h 6862483"/>
              <a:gd name="connsiteX2" fmla="*/ 4087180 w 6086309"/>
              <a:gd name="connsiteY2" fmla="*/ 6862483 h 6862483"/>
              <a:gd name="connsiteX3" fmla="*/ 655475 w 6086309"/>
              <a:gd name="connsiteY3" fmla="*/ 6862483 h 6862483"/>
              <a:gd name="connsiteX4" fmla="*/ 5 w 6086309"/>
              <a:gd name="connsiteY4" fmla="*/ 3409885 h 6862483"/>
              <a:gd name="connsiteX5" fmla="*/ 655475 w 6086309"/>
              <a:gd name="connsiteY5" fmla="*/ 4483 h 6862483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86310" h="6866965">
                <a:moveTo>
                  <a:pt x="655475" y="4483"/>
                </a:moveTo>
                <a:lnTo>
                  <a:pt x="6086309" y="0"/>
                </a:lnTo>
                <a:cubicBezTo>
                  <a:pt x="6086309" y="2288988"/>
                  <a:pt x="6086310" y="4577977"/>
                  <a:pt x="6086310" y="6866965"/>
                </a:cubicBezTo>
                <a:lnTo>
                  <a:pt x="655475" y="6862483"/>
                </a:lnTo>
                <a:cubicBezTo>
                  <a:pt x="198241" y="5584022"/>
                  <a:pt x="-1047" y="4542725"/>
                  <a:pt x="5" y="3409885"/>
                </a:cubicBezTo>
                <a:cubicBezTo>
                  <a:pt x="1057" y="2277045"/>
                  <a:pt x="220670" y="999399"/>
                  <a:pt x="655475" y="4483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9700E9CE-DAC8-4704-A149-43A60B27A84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22E9968-6017-4856-A4C4-E7595C39E8B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9877745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415F941-B7C0-48FA-BC12-7B7C22682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7CD8110F-CCB3-4F2C-A24C-583951140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DD1E9F2C-6E23-43A9-A7DE-626D34CED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4130109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CBD59BAD-0669-42AB-9904-BB6AA4465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2F973901-92EE-424C-B835-C2D00C6C5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61139632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356350" cy="252698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</a:t>
            </a:r>
            <a:br>
              <a:rPr lang="fi-FI" dirty="0"/>
            </a:br>
            <a:r>
              <a:rPr lang="fi-FI" dirty="0"/>
              <a:t>esityksen </a:t>
            </a:r>
            <a:br>
              <a:rPr lang="fi-FI" dirty="0"/>
            </a:br>
            <a:r>
              <a:rPr lang="fi-FI" dirty="0"/>
              <a:t>jäsentämiseen, </a:t>
            </a:r>
            <a:br>
              <a:rPr lang="fi-FI" dirty="0"/>
            </a:br>
            <a:r>
              <a:rPr lang="fi-FI" dirty="0"/>
              <a:t>4 riviä lyhyellä tekstill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9F8BFF4-EC86-4A85-B914-B241AE572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4F20DE8F-8CBA-4069-B1E4-BBCC9BE8A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4002245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932414" cy="87193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D25FCF1C-6312-4783-B492-30778B19C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5" name="Dian numeron paikkamerkki 14">
            <a:extLst>
              <a:ext uri="{FF2B5EF4-FFF2-40B4-BE49-F238E27FC236}">
                <a16:creationId xmlns:a16="http://schemas.microsoft.com/office/drawing/2014/main" id="{B58E6CF3-2C51-4D95-85AA-2F72E91E1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4067237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Grafiikkasivu, kuva ja tekstitiivistelmä vierekkäin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6164822" cy="42480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Tekstin paikkamerkki 22">
            <a:extLst>
              <a:ext uri="{FF2B5EF4-FFF2-40B4-BE49-F238E27FC236}">
                <a16:creationId xmlns:a16="http://schemas.microsoft.com/office/drawing/2014/main" id="{3031A60E-285E-4799-8337-B7C931123A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26518" y="1959997"/>
            <a:ext cx="4286106" cy="3802327"/>
          </a:xfrm>
        </p:spPr>
        <p:txBody>
          <a:bodyPr/>
          <a:lstStyle>
            <a:lvl1pPr marL="269875" indent="-269875">
              <a:lnSpc>
                <a:spcPct val="95000"/>
              </a:lnSpc>
              <a:defRPr sz="19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1" name="Alatunnisteen paikkamerkki 10">
            <a:extLst>
              <a:ext uri="{FF2B5EF4-FFF2-40B4-BE49-F238E27FC236}">
                <a16:creationId xmlns:a16="http://schemas.microsoft.com/office/drawing/2014/main" id="{CD9B7E4D-B77A-4CF1-B584-356F4C4B32D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2" name="Dian numeron paikkamerkki 11">
            <a:extLst>
              <a:ext uri="{FF2B5EF4-FFF2-40B4-BE49-F238E27FC236}">
                <a16:creationId xmlns:a16="http://schemas.microsoft.com/office/drawing/2014/main" id="{9B664EFA-778C-4D9B-A7A3-46CB8D5370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1812421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195567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esityksen </a:t>
            </a:r>
            <a:br>
              <a:rPr lang="fi-FI" dirty="0"/>
            </a:br>
            <a:r>
              <a:rPr lang="fi-FI" dirty="0"/>
              <a:t>jäsentämiseen pitkällä tekstillä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5A33775A-8692-4630-B0A7-351A15032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DBD8842B-CE46-458C-9327-5C7AC4214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6044745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936000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, yksi sana tai 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4363340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213C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0" name="Kuvan paikkamerkki 19">
            <a:extLst>
              <a:ext uri="{FF2B5EF4-FFF2-40B4-BE49-F238E27FC236}">
                <a16:creationId xmlns:a16="http://schemas.microsoft.com/office/drawing/2014/main" id="{8DB9BFF2-C31A-4614-8C44-870E61EDC78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1824046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rakennus, mies, katettu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29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4962230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3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tuulimylly, ulko, näkymä, aut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7C376E3-2ABB-974B-9114-E2184E099A4F}"/>
              </a:ext>
            </a:extLst>
          </p:cNvPr>
          <p:cNvSpPr txBox="1"/>
          <p:nvPr userDrawn="1"/>
        </p:nvSpPr>
        <p:spPr>
          <a:xfrm>
            <a:off x="5405163" y="476672"/>
            <a:ext cx="453650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FI" dirty="0">
                <a:solidFill>
                  <a:schemeClr val="bg1"/>
                </a:solidFill>
              </a:rPr>
              <a:t>Tämä kuva pois, tilalle kuvalaatikko</a:t>
            </a:r>
          </a:p>
        </p:txBody>
      </p:sp>
    </p:spTree>
    <p:extLst>
      <p:ext uri="{BB962C8B-B14F-4D97-AF65-F5344CB8AC3E}">
        <p14:creationId xmlns:p14="http://schemas.microsoft.com/office/powerpoint/2010/main" val="201203806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pöytä, istuminen, kirjoituspöytä, tietokone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22000" cy="6858000"/>
          </a:xfrm>
          <a:prstGeom prst="rect">
            <a:avLst/>
          </a:prstGeom>
        </p:spPr>
      </p:pic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3518803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1">
            <a:extLst>
              <a:ext uri="{FF2B5EF4-FFF2-40B4-BE49-F238E27FC236}">
                <a16:creationId xmlns:a16="http://schemas.microsoft.com/office/drawing/2014/main" id="{A9699318-17A8-4406-8545-15EC6D0D763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Kuvan paikkamerkki 19">
            <a:extLst>
              <a:ext uri="{FF2B5EF4-FFF2-40B4-BE49-F238E27FC236}">
                <a16:creationId xmlns:a16="http://schemas.microsoft.com/office/drawing/2014/main" id="{C20D1C9F-02E1-4C00-846A-9CC67CA2EDE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4120748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sp>
        <p:nvSpPr>
          <p:cNvPr id="17" name="Kuvan paikkamerkki 19">
            <a:extLst>
              <a:ext uri="{FF2B5EF4-FFF2-40B4-BE49-F238E27FC236}">
                <a16:creationId xmlns:a16="http://schemas.microsoft.com/office/drawing/2014/main" id="{79A4B3D4-F743-4ABE-BF43-A842D73C48B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8469350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piiri, hiihtäminen, kell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30" y="0"/>
            <a:ext cx="4108704" cy="6858000"/>
          </a:xfrm>
          <a:prstGeom prst="rect">
            <a:avLst/>
          </a:prstGeom>
        </p:spPr>
      </p:pic>
      <p:sp>
        <p:nvSpPr>
          <p:cNvPr id="24" name="Freeform 10">
            <a:extLst>
              <a:ext uri="{FF2B5EF4-FFF2-40B4-BE49-F238E27FC236}">
                <a16:creationId xmlns:a16="http://schemas.microsoft.com/office/drawing/2014/main" id="{E5B9F0F0-2539-458B-AAF7-535BE5D78F43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8756990" cy="6857999"/>
          </a:xfrm>
          <a:custGeom>
            <a:avLst/>
            <a:gdLst>
              <a:gd name="T0" fmla="*/ 0 w 48666"/>
              <a:gd name="T1" fmla="*/ 38100 h 38100"/>
              <a:gd name="T2" fmla="*/ 48666 w 48666"/>
              <a:gd name="T3" fmla="*/ 38100 h 38100"/>
              <a:gd name="T4" fmla="*/ 46174 w 48666"/>
              <a:gd name="T5" fmla="*/ 29774 h 38100"/>
              <a:gd name="T6" fmla="*/ 46174 w 48666"/>
              <a:gd name="T7" fmla="*/ 29774 h 38100"/>
              <a:gd name="T8" fmla="*/ 48657 w 48666"/>
              <a:gd name="T9" fmla="*/ 0 h 38100"/>
              <a:gd name="T10" fmla="*/ 0 w 48666"/>
              <a:gd name="T11" fmla="*/ 0 h 38100"/>
              <a:gd name="T12" fmla="*/ 0 w 48666"/>
              <a:gd name="T13" fmla="*/ 38100 h 38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666" h="38100">
                <a:moveTo>
                  <a:pt x="0" y="38100"/>
                </a:moveTo>
                <a:lnTo>
                  <a:pt x="48666" y="38100"/>
                </a:lnTo>
                <a:cubicBezTo>
                  <a:pt x="47620" y="35440"/>
                  <a:pt x="46781" y="32661"/>
                  <a:pt x="46174" y="29774"/>
                </a:cubicBezTo>
                <a:lnTo>
                  <a:pt x="46174" y="29774"/>
                </a:lnTo>
                <a:cubicBezTo>
                  <a:pt x="44128" y="20120"/>
                  <a:pt x="44799" y="9795"/>
                  <a:pt x="48657" y="0"/>
                </a:cubicBez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365AB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1206436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743A037A-3296-40C2-9074-84427B0EB2B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6756211" cy="6858000"/>
            <a:chOff x="2724150" y="6350"/>
            <a:chExt cx="6743700" cy="6845301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89334710-4573-413A-9371-58D53E96403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6350"/>
              <a:ext cx="6743700" cy="6845300"/>
            </a:xfrm>
            <a:custGeom>
              <a:avLst/>
              <a:gdLst>
                <a:gd name="T0" fmla="*/ 37531 w 37531"/>
                <a:gd name="T1" fmla="*/ 38100 h 38100"/>
                <a:gd name="T2" fmla="*/ 35005 w 37531"/>
                <a:gd name="T3" fmla="*/ 29739 h 38100"/>
                <a:gd name="T4" fmla="*/ 37500 w 37531"/>
                <a:gd name="T5" fmla="*/ 0 h 38100"/>
                <a:gd name="T6" fmla="*/ 0 w 37531"/>
                <a:gd name="T7" fmla="*/ 0 h 38100"/>
                <a:gd name="T8" fmla="*/ 0 w 37531"/>
                <a:gd name="T9" fmla="*/ 38100 h 38100"/>
                <a:gd name="T10" fmla="*/ 37531 w 37531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531" h="38100">
                  <a:moveTo>
                    <a:pt x="37531" y="38100"/>
                  </a:moveTo>
                  <a:cubicBezTo>
                    <a:pt x="36473" y="35432"/>
                    <a:pt x="35622" y="32640"/>
                    <a:pt x="35005" y="29739"/>
                  </a:cubicBezTo>
                  <a:cubicBezTo>
                    <a:pt x="32947" y="20093"/>
                    <a:pt x="33623" y="9779"/>
                    <a:pt x="37500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37531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025CC1E-66FA-4412-98F7-D19894F2D9B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4011613"/>
              <a:ext cx="6443663" cy="2840038"/>
            </a:xfrm>
            <a:custGeom>
              <a:avLst/>
              <a:gdLst>
                <a:gd name="T0" fmla="*/ 35867 w 35867"/>
                <a:gd name="T1" fmla="*/ 15808 h 15808"/>
                <a:gd name="T2" fmla="*/ 0 w 35867"/>
                <a:gd name="T3" fmla="*/ 0 h 15808"/>
                <a:gd name="T4" fmla="*/ 0 w 35867"/>
                <a:gd name="T5" fmla="*/ 15808 h 15808"/>
                <a:gd name="T6" fmla="*/ 35867 w 35867"/>
                <a:gd name="T7" fmla="*/ 15808 h 15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867" h="15808">
                  <a:moveTo>
                    <a:pt x="35867" y="15808"/>
                  </a:moveTo>
                  <a:cubicBezTo>
                    <a:pt x="24829" y="8026"/>
                    <a:pt x="12618" y="2772"/>
                    <a:pt x="0" y="0"/>
                  </a:cubicBezTo>
                  <a:lnTo>
                    <a:pt x="0" y="15808"/>
                  </a:lnTo>
                  <a:lnTo>
                    <a:pt x="35867" y="1580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4916190" cy="180803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Asianostosivu </a:t>
            </a:r>
            <a:br>
              <a:rPr lang="fi-FI" dirty="0"/>
            </a:br>
            <a:r>
              <a:rPr lang="fi-FI" dirty="0"/>
              <a:t>esityksen jäsentämiseen, 3 rivin otsikko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53880" y="1514325"/>
            <a:ext cx="4658744" cy="4248000"/>
          </a:xfrm>
        </p:spPr>
        <p:txBody>
          <a:bodyPr/>
          <a:lstStyle>
            <a:lvl1pPr marL="269875" indent="-269875">
              <a:lnSpc>
                <a:spcPct val="95000"/>
              </a:lnSpc>
              <a:defRPr sz="22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38A531D9-3794-4382-A4CC-D062827D8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E9C40528-505B-4E57-81CB-FA8E7278B7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33320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oleObject" Target="../embeddings/oleObject2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vmlDrawing" Target="../drawings/vmlDrawing2.v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oleObject" Target="../embeddings/oleObject3.bin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vmlDrawing" Target="../drawings/vmlDrawing3.vml"/><Relationship Id="rId30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oleObject" Target="../embeddings/oleObject4.bin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tags" Target="../tags/tag4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vmlDrawing" Target="../drawings/vmlDrawing4.vml"/><Relationship Id="rId30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oleObject" Target="../embeddings/oleObject5.bin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tags" Target="../tags/tag5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vmlDrawing" Target="../drawings/vmlDrawing5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EE6FA2-90B9-464A-9666-68D91F2B8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028" name="think-cell Slide" r:id="rId29" imgW="473" imgH="473" progId="TCLayout.ActiveDocument.1">
                  <p:embed/>
                </p:oleObj>
              </mc:Choice>
              <mc:Fallback>
                <p:oleObj name="think-cell Slide" r:id="rId29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EEE6FA2-90B9-464A-9666-68D91F2B8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DB813CEF-66CE-41A6-9589-6FF5AB746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20" y="306000"/>
            <a:ext cx="1057148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7D603C59-5B66-4F64-93F3-1F4DFBEE6E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2320" y="1762761"/>
            <a:ext cx="1057148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noProof="0" dirty="0"/>
              <a:t>Muokkaa tekstin perustyylejä napsauttamalla</a:t>
            </a:r>
          </a:p>
          <a:p>
            <a:pPr lvl="1"/>
            <a:r>
              <a:rPr lang="fi-FI" noProof="0" dirty="0"/>
              <a:t>toinen taso</a:t>
            </a:r>
          </a:p>
          <a:p>
            <a:pPr lvl="2"/>
            <a:r>
              <a:rPr lang="fi-FI" noProof="0" dirty="0"/>
              <a:t>kolmas taso</a:t>
            </a:r>
          </a:p>
          <a:p>
            <a:pPr lvl="3"/>
            <a:r>
              <a:rPr lang="fi-FI" noProof="0" dirty="0"/>
              <a:t>neljäs taso</a:t>
            </a:r>
          </a:p>
          <a:p>
            <a:pPr lvl="4"/>
            <a:r>
              <a:rPr lang="fi-FI" noProof="0" dirty="0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4D131FDA-8F15-4702-ABF9-690082056A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44920" y="6453336"/>
            <a:ext cx="1009328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endParaRPr lang="fi-FI" noProof="0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6B6AA8B-3D61-4AA5-84FF-FE178AE4F2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68400" y="6453336"/>
            <a:ext cx="411480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i-FI" dirty="0"/>
              <a:t>Aihe/otsikkoteksti </a:t>
            </a:r>
            <a:r>
              <a:rPr lang="fi-FI" dirty="0" err="1"/>
              <a:t>Arial</a:t>
            </a:r>
            <a:r>
              <a:rPr lang="fi-FI" dirty="0"/>
              <a:t> </a:t>
            </a:r>
            <a:r>
              <a:rPr lang="fi-FI" dirty="0" err="1"/>
              <a:t>Regular</a:t>
            </a:r>
            <a:r>
              <a:rPr lang="fi-FI" dirty="0"/>
              <a:t> </a:t>
            </a:r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es</a:t>
            </a:r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8D84F219-5BCC-4F1C-B213-2C1F4342BE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200" y="6453336"/>
            <a:ext cx="36688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74FCF417-30B6-4F05-9607-5A03685BD2C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272" y="6142062"/>
            <a:ext cx="1947891" cy="63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788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5600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93875" indent="-355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3">
          <p15:clr>
            <a:srgbClr val="F26B43"/>
          </p15:clr>
        </p15:guide>
        <p15:guide id="4" pos="7151">
          <p15:clr>
            <a:srgbClr val="F26B43"/>
          </p15:clr>
        </p15:guide>
        <p15:guide id="5" orient="horz" pos="164">
          <p15:clr>
            <a:srgbClr val="F26B43"/>
          </p15:clr>
        </p15:guide>
        <p15:guide id="6" orient="horz" pos="3793">
          <p15:clr>
            <a:srgbClr val="F26B43"/>
          </p15:clr>
        </p15:guide>
        <p15:guide id="7" orient="horz" pos="102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EE6FA2-90B9-464A-9666-68D91F2B8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048" name="think-cell Slide" r:id="rId29" imgW="473" imgH="473" progId="TCLayout.ActiveDocument.1">
                  <p:embed/>
                </p:oleObj>
              </mc:Choice>
              <mc:Fallback>
                <p:oleObj name="think-cell Slide" r:id="rId29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EEE6FA2-90B9-464A-9666-68D91F2B8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DB813CEF-66CE-41A6-9589-6FF5AB746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20" y="306000"/>
            <a:ext cx="1057148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7D603C59-5B66-4F64-93F3-1F4DFBEE6E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2320" y="1762761"/>
            <a:ext cx="1057148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noProof="0" dirty="0"/>
              <a:t>Muokkaa tekstin perustyylejä napsauttamalla</a:t>
            </a:r>
          </a:p>
          <a:p>
            <a:pPr lvl="1"/>
            <a:r>
              <a:rPr lang="fi-FI" noProof="0" dirty="0"/>
              <a:t>toinen taso</a:t>
            </a:r>
          </a:p>
          <a:p>
            <a:pPr lvl="2"/>
            <a:r>
              <a:rPr lang="fi-FI" noProof="0" dirty="0"/>
              <a:t>kolmas taso</a:t>
            </a:r>
          </a:p>
          <a:p>
            <a:pPr lvl="3"/>
            <a:r>
              <a:rPr lang="fi-FI" noProof="0" dirty="0"/>
              <a:t>neljäs taso</a:t>
            </a:r>
          </a:p>
          <a:p>
            <a:pPr lvl="4"/>
            <a:r>
              <a:rPr lang="fi-FI" noProof="0" dirty="0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4D131FDA-8F15-4702-ABF9-690082056A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44920" y="6453336"/>
            <a:ext cx="1009328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endParaRPr lang="fi-FI" noProof="0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6B6AA8B-3D61-4AA5-84FF-FE178AE4F2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68400" y="6453336"/>
            <a:ext cx="411480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i-FI" dirty="0"/>
              <a:t>Aihe/otsikkoteksti </a:t>
            </a:r>
            <a:r>
              <a:rPr lang="fi-FI" dirty="0" err="1"/>
              <a:t>Arial</a:t>
            </a:r>
            <a:r>
              <a:rPr lang="fi-FI" dirty="0"/>
              <a:t> </a:t>
            </a:r>
            <a:r>
              <a:rPr lang="fi-FI" dirty="0" err="1"/>
              <a:t>Regular</a:t>
            </a:r>
            <a:r>
              <a:rPr lang="fi-FI" dirty="0"/>
              <a:t> </a:t>
            </a:r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es</a:t>
            </a:r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8D84F219-5BCC-4F1C-B213-2C1F4342BE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200" y="6453336"/>
            <a:ext cx="36688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74FCF417-30B6-4F05-9607-5A03685BD2C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272" y="6142062"/>
            <a:ext cx="1947891" cy="63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304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5600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93875" indent="-355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EE6FA2-90B9-464A-9666-68D91F2B8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73" name="think-cell Slide" r:id="rId29" imgW="473" imgH="473" progId="TCLayout.ActiveDocument.1">
                  <p:embed/>
                </p:oleObj>
              </mc:Choice>
              <mc:Fallback>
                <p:oleObj name="think-cell Slide" r:id="rId29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EEE6FA2-90B9-464A-9666-68D91F2B8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DB813CEF-66CE-41A6-9589-6FF5AB746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20" y="306000"/>
            <a:ext cx="1057148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7D603C59-5B66-4F64-93F3-1F4DFBEE6E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2320" y="1762761"/>
            <a:ext cx="1057148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noProof="0" dirty="0"/>
              <a:t>Muokkaa tekstin perustyylejä napsauttamalla</a:t>
            </a:r>
          </a:p>
          <a:p>
            <a:pPr lvl="1"/>
            <a:r>
              <a:rPr lang="fi-FI" noProof="0" dirty="0"/>
              <a:t>toinen taso</a:t>
            </a:r>
          </a:p>
          <a:p>
            <a:pPr lvl="2"/>
            <a:r>
              <a:rPr lang="fi-FI" noProof="0" dirty="0"/>
              <a:t>kolmas taso</a:t>
            </a:r>
          </a:p>
          <a:p>
            <a:pPr lvl="3"/>
            <a:r>
              <a:rPr lang="fi-FI" noProof="0" dirty="0"/>
              <a:t>neljäs taso</a:t>
            </a:r>
          </a:p>
          <a:p>
            <a:pPr lvl="4"/>
            <a:r>
              <a:rPr lang="fi-FI" noProof="0" dirty="0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4D131FDA-8F15-4702-ABF9-690082056A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44920" y="6453336"/>
            <a:ext cx="1009328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endParaRPr lang="fi-FI" noProof="0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6B6AA8B-3D61-4AA5-84FF-FE178AE4F2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68400" y="6453336"/>
            <a:ext cx="411480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i-FI" dirty="0"/>
              <a:t>Aihe/otsikkoteksti </a:t>
            </a:r>
            <a:r>
              <a:rPr lang="fi-FI" dirty="0" err="1"/>
              <a:t>Arial</a:t>
            </a:r>
            <a:r>
              <a:rPr lang="fi-FI" dirty="0"/>
              <a:t> </a:t>
            </a:r>
            <a:r>
              <a:rPr lang="fi-FI" dirty="0" err="1"/>
              <a:t>Regular</a:t>
            </a:r>
            <a:r>
              <a:rPr lang="fi-FI" dirty="0"/>
              <a:t> </a:t>
            </a:r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es</a:t>
            </a:r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8D84F219-5BCC-4F1C-B213-2C1F4342BE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200" y="6453336"/>
            <a:ext cx="36688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74FCF417-30B6-4F05-9607-5A03685BD2C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272" y="6142062"/>
            <a:ext cx="1947891" cy="63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566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5600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93875" indent="-355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3">
          <p15:clr>
            <a:srgbClr val="F26B43"/>
          </p15:clr>
        </p15:guide>
        <p15:guide id="4" pos="7151">
          <p15:clr>
            <a:srgbClr val="F26B43"/>
          </p15:clr>
        </p15:guide>
        <p15:guide id="5" orient="horz" pos="164">
          <p15:clr>
            <a:srgbClr val="F26B43"/>
          </p15:clr>
        </p15:guide>
        <p15:guide id="6" orient="horz" pos="3793">
          <p15:clr>
            <a:srgbClr val="F26B43"/>
          </p15:clr>
        </p15:guide>
        <p15:guide id="7" orient="horz" pos="102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EE6FA2-90B9-464A-9666-68D91F2B8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982" name="think-cell Slide" r:id="rId29" imgW="473" imgH="473" progId="TCLayout.ActiveDocument.1">
                  <p:embed/>
                </p:oleObj>
              </mc:Choice>
              <mc:Fallback>
                <p:oleObj name="think-cell Slide" r:id="rId29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EEE6FA2-90B9-464A-9666-68D91F2B8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DB813CEF-66CE-41A6-9589-6FF5AB746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20" y="306000"/>
            <a:ext cx="1057148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7D603C59-5B66-4F64-93F3-1F4DFBEE6E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2320" y="1762761"/>
            <a:ext cx="1057148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noProof="0" dirty="0"/>
              <a:t>Muokkaa tekstin perustyylejä napsauttamalla</a:t>
            </a:r>
          </a:p>
          <a:p>
            <a:pPr lvl="1"/>
            <a:r>
              <a:rPr lang="fi-FI" noProof="0" dirty="0"/>
              <a:t>toinen taso</a:t>
            </a:r>
          </a:p>
          <a:p>
            <a:pPr lvl="2"/>
            <a:r>
              <a:rPr lang="fi-FI" noProof="0" dirty="0"/>
              <a:t>kolmas taso</a:t>
            </a:r>
          </a:p>
          <a:p>
            <a:pPr lvl="3"/>
            <a:r>
              <a:rPr lang="fi-FI" noProof="0" dirty="0"/>
              <a:t>neljäs taso</a:t>
            </a:r>
          </a:p>
          <a:p>
            <a:pPr lvl="4"/>
            <a:r>
              <a:rPr lang="fi-FI" noProof="0" dirty="0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4D131FDA-8F15-4702-ABF9-690082056A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44920" y="6453336"/>
            <a:ext cx="1009328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endParaRPr lang="fi-FI" noProof="0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6B6AA8B-3D61-4AA5-84FF-FE178AE4F2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68400" y="6453336"/>
            <a:ext cx="411480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i-FI" dirty="0"/>
              <a:t>Aihe/otsikkoteksti </a:t>
            </a:r>
            <a:r>
              <a:rPr lang="fi-FI" dirty="0" err="1"/>
              <a:t>Arial</a:t>
            </a:r>
            <a:r>
              <a:rPr lang="fi-FI" dirty="0"/>
              <a:t> </a:t>
            </a:r>
            <a:r>
              <a:rPr lang="fi-FI" dirty="0" err="1"/>
              <a:t>Regular</a:t>
            </a:r>
            <a:r>
              <a:rPr lang="fi-FI" dirty="0"/>
              <a:t> </a:t>
            </a:r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es</a:t>
            </a:r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8D84F219-5BCC-4F1C-B213-2C1F4342BE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200" y="6453336"/>
            <a:ext cx="36688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74FCF417-30B6-4F05-9607-5A03685BD2C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272" y="6142062"/>
            <a:ext cx="1947891" cy="63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961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  <p:sldLayoutId id="2147483815" r:id="rId12"/>
    <p:sldLayoutId id="2147483816" r:id="rId13"/>
    <p:sldLayoutId id="2147483817" r:id="rId14"/>
    <p:sldLayoutId id="2147483818" r:id="rId15"/>
    <p:sldLayoutId id="2147483819" r:id="rId16"/>
    <p:sldLayoutId id="2147483820" r:id="rId17"/>
    <p:sldLayoutId id="2147483821" r:id="rId18"/>
    <p:sldLayoutId id="2147483822" r:id="rId19"/>
    <p:sldLayoutId id="2147483823" r:id="rId20"/>
    <p:sldLayoutId id="2147483824" r:id="rId21"/>
    <p:sldLayoutId id="2147483825" r:id="rId22"/>
    <p:sldLayoutId id="2147483826" r:id="rId23"/>
    <p:sldLayoutId id="2147483827" r:id="rId24"/>
    <p:sldLayoutId id="2147483828" r:id="rId25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5600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93875" indent="-355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EE6FA2-90B9-464A-9666-68D91F2B8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649" name="think-cell Slide" r:id="rId29" imgW="473" imgH="473" progId="TCLayout.ActiveDocument.1">
                  <p:embed/>
                </p:oleObj>
              </mc:Choice>
              <mc:Fallback>
                <p:oleObj name="think-cell Slide" r:id="rId29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EEE6FA2-90B9-464A-9666-68D91F2B8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DB813CEF-66CE-41A6-9589-6FF5AB746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20" y="306000"/>
            <a:ext cx="1057148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7D603C59-5B66-4F64-93F3-1F4DFBEE6E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2320" y="1762761"/>
            <a:ext cx="1057148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noProof="0" dirty="0"/>
              <a:t>Muokkaa tekstin perustyylejä napsauttamalla</a:t>
            </a:r>
          </a:p>
          <a:p>
            <a:pPr lvl="1"/>
            <a:r>
              <a:rPr lang="fi-FI" noProof="0" dirty="0"/>
              <a:t>toinen taso</a:t>
            </a:r>
          </a:p>
          <a:p>
            <a:pPr lvl="2"/>
            <a:r>
              <a:rPr lang="fi-FI" noProof="0" dirty="0"/>
              <a:t>kolmas taso</a:t>
            </a:r>
          </a:p>
          <a:p>
            <a:pPr lvl="3"/>
            <a:r>
              <a:rPr lang="fi-FI" noProof="0" dirty="0"/>
              <a:t>neljäs taso</a:t>
            </a:r>
          </a:p>
          <a:p>
            <a:pPr lvl="4"/>
            <a:r>
              <a:rPr lang="fi-FI" noProof="0" dirty="0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4D131FDA-8F15-4702-ABF9-690082056A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44920" y="6453336"/>
            <a:ext cx="1009328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endParaRPr lang="fi-FI" noProof="0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6B6AA8B-3D61-4AA5-84FF-FE178AE4F2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68400" y="6453336"/>
            <a:ext cx="411480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i-FI" dirty="0"/>
              <a:t>Aihe/otsikkoteksti </a:t>
            </a:r>
            <a:r>
              <a:rPr lang="fi-FI" dirty="0" err="1"/>
              <a:t>Arial</a:t>
            </a:r>
            <a:r>
              <a:rPr lang="fi-FI" dirty="0"/>
              <a:t> </a:t>
            </a:r>
            <a:r>
              <a:rPr lang="fi-FI" dirty="0" err="1"/>
              <a:t>Regular</a:t>
            </a:r>
            <a:r>
              <a:rPr lang="fi-FI" dirty="0"/>
              <a:t> </a:t>
            </a:r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es</a:t>
            </a:r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8D84F219-5BCC-4F1C-B213-2C1F4342BE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200" y="6453336"/>
            <a:ext cx="36688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74FCF417-30B6-4F05-9607-5A03685BD2C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272" y="6142062"/>
            <a:ext cx="1947891" cy="63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885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6" r:id="rId17"/>
    <p:sldLayoutId id="2147483847" r:id="rId18"/>
    <p:sldLayoutId id="2147483848" r:id="rId19"/>
    <p:sldLayoutId id="2147483849" r:id="rId20"/>
    <p:sldLayoutId id="2147483850" r:id="rId21"/>
    <p:sldLayoutId id="2147483851" r:id="rId22"/>
    <p:sldLayoutId id="2147483852" r:id="rId23"/>
    <p:sldLayoutId id="2147483853" r:id="rId24"/>
    <p:sldLayoutId id="2147483854" r:id="rId25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5600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93875" indent="-355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7.xml"/><Relationship Id="rId7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5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5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vm.fi/hankesivu?tunnus=VM134:00/2020" TargetMode="Externa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 smtClean="0"/>
              <a:t>Teknologianeuvottelukunta </a:t>
            </a:r>
            <a:r>
              <a:rPr lang="fi-FI" dirty="0" smtClean="0"/>
              <a:t>17.5.2021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2026920" y="4984955"/>
            <a:ext cx="8641080" cy="702528"/>
          </a:xfrm>
        </p:spPr>
        <p:txBody>
          <a:bodyPr/>
          <a:lstStyle/>
          <a:p>
            <a:r>
              <a:rPr lang="fi-FI" sz="2400" dirty="0" smtClean="0"/>
              <a:t>Neuvottelukunnan 8. kokous</a:t>
            </a:r>
            <a:endParaRPr lang="fi-FI" sz="2400" dirty="0"/>
          </a:p>
        </p:txBody>
      </p:sp>
    </p:spTree>
    <p:extLst>
      <p:ext uri="{BB962C8B-B14F-4D97-AF65-F5344CB8AC3E}">
        <p14:creationId xmlns:p14="http://schemas.microsoft.com/office/powerpoint/2010/main" val="2411808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isällön paikkamerkki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81200" y="1099972"/>
            <a:ext cx="11154725" cy="5095752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Top 10-toimenpiteet vaikuttavuudella ja toteutuksen tärkeydellä</a:t>
            </a:r>
            <a:br>
              <a:rPr lang="fi-FI" dirty="0" smtClean="0"/>
            </a:b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10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03533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Toimenpiteisiin liittyviä suuria eroja eri ryhmillä tai vastustusta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dirty="0" smtClean="0"/>
              <a:t>Teknologiaministeri – kannat jakaantuivat melko ääripäihin, osa epäili vaikuttavuutta ilman ministeriötä ja kannatti isompia rakenteellisia muutoksia</a:t>
            </a:r>
          </a:p>
          <a:p>
            <a:r>
              <a:rPr lang="fi-FI" dirty="0" smtClean="0"/>
              <a:t>Omistajuus ja yrittäjyys – valtionhallinnon ja yritysten näkemyksissä selvät erot: hallinto vähäinen vaikuttavuus, epävarma pitäisikö toteuttaa vs. yritykset suuri vaikuttavuus, pitäisi ehdottomasti toteuttaa, järjestöt keskellä</a:t>
            </a:r>
          </a:p>
          <a:p>
            <a:r>
              <a:rPr lang="fi-FI" dirty="0" smtClean="0"/>
              <a:t>Älyrahake: jakaantuu kaikkien ryhmien välillä (johtuu ymmärrettävyydestä?)</a:t>
            </a:r>
            <a:endParaRPr lang="fi-FI" dirty="0"/>
          </a:p>
          <a:p>
            <a:r>
              <a:rPr lang="fi-FI" dirty="0" smtClean="0"/>
              <a:t>Vastustusta: Korkeakoulujen erikoistuminen (23c), ulkomaisista huippuyliopistoista valmistuneille oleskelulupa (25 d)</a:t>
            </a:r>
          </a:p>
          <a:p>
            <a:pPr marL="0" indent="0">
              <a:buNone/>
            </a:pPr>
            <a:endParaRPr lang="fi-FI" dirty="0" smtClean="0"/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7831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2026919" y="3073399"/>
            <a:ext cx="9308951" cy="2439895"/>
          </a:xfrm>
        </p:spPr>
        <p:txBody>
          <a:bodyPr/>
          <a:lstStyle/>
          <a:p>
            <a:r>
              <a:rPr lang="fi-FI" dirty="0" smtClean="0"/>
              <a:t>Tavoitteet ja avaintulokset</a:t>
            </a:r>
            <a:br>
              <a:rPr lang="fi-FI" dirty="0" smtClean="0"/>
            </a:br>
            <a:r>
              <a:rPr lang="fi-FI" dirty="0" smtClean="0"/>
              <a:t>- avaintuloksissa </a:t>
            </a:r>
            <a:r>
              <a:rPr lang="fi-FI" dirty="0"/>
              <a:t>vielä työstöä, jonkin verran muutosehdotuksia </a:t>
            </a:r>
            <a:r>
              <a:rPr lang="fi-FI" dirty="0" smtClean="0"/>
              <a:t>lausunnoissa </a:t>
            </a:r>
            <a:r>
              <a:rPr lang="fi-FI" b="0" dirty="0" smtClean="0"/>
              <a:t>(kommentteja ja ehdotuksia muistiinpanoissa)</a:t>
            </a:r>
            <a:endParaRPr lang="fi-FI" b="0" dirty="0"/>
          </a:p>
        </p:txBody>
      </p:sp>
    </p:spTree>
    <p:extLst>
      <p:ext uri="{BB962C8B-B14F-4D97-AF65-F5344CB8AC3E}">
        <p14:creationId xmlns:p14="http://schemas.microsoft.com/office/powerpoint/2010/main" val="2967841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D06440D3-3E19-43C3-8E0F-2604137A4E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10"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D06440D3-3E19-43C3-8E0F-2604137A4E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1A2EC003-946E-4C15-8F79-2BF995C2F1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8D06A9BA-0595-4042-8DF5-70EF6FB04E3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112302-77FB-498F-BFCF-784313ECD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351" y="570639"/>
            <a:ext cx="10571480" cy="1325563"/>
          </a:xfrm>
        </p:spPr>
        <p:txBody>
          <a:bodyPr vert="horz"/>
          <a:lstStyle/>
          <a:p>
            <a:r>
              <a:rPr lang="fi-FI" dirty="0"/>
              <a:t>Teknologiapolitiikan OKR –malli Suomel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2E9B1F8-B521-4ABE-AF62-1EC963B1991E}"/>
              </a:ext>
            </a:extLst>
          </p:cNvPr>
          <p:cNvSpPr/>
          <p:nvPr/>
        </p:nvSpPr>
        <p:spPr>
          <a:xfrm>
            <a:off x="2522937" y="1631563"/>
            <a:ext cx="7322415" cy="58477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Times New Roman" panose="02020603050405020304" pitchFamily="18" charset="0"/>
              </a:rPr>
              <a:t>Suomi on vuonna 2030 maailman menestyksellisin ja tunnetuin teknologi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Times New Roman" panose="02020603050405020304" pitchFamily="18" charset="0"/>
              </a:rPr>
              <a:t>kehittämisestä ja hyödyntämisestä hyvinvointia ammentava maa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72101D-0B1A-49C8-B2FD-369FE1BDD15B}"/>
              </a:ext>
            </a:extLst>
          </p:cNvPr>
          <p:cNvSpPr/>
          <p:nvPr/>
        </p:nvSpPr>
        <p:spPr>
          <a:xfrm>
            <a:off x="782320" y="3517215"/>
            <a:ext cx="1475105" cy="43088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voitteet (O)</a:t>
            </a:r>
          </a:p>
          <a:p>
            <a:pPr marL="324000" marR="0" lvl="1" indent="-216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 kp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3F100E-C1EA-41C8-ABC6-3166B749A95B}"/>
              </a:ext>
            </a:extLst>
          </p:cNvPr>
          <p:cNvSpPr/>
          <p:nvPr/>
        </p:nvSpPr>
        <p:spPr>
          <a:xfrm>
            <a:off x="782320" y="4976544"/>
            <a:ext cx="1665605" cy="43088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aintulokset (KR)</a:t>
            </a:r>
          </a:p>
          <a:p>
            <a:pPr marL="324000" marR="0" lvl="1" indent="-216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-6 kpl/tavoite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66E349AB-7842-4E46-9935-5F5D2D80DAEE}"/>
              </a:ext>
            </a:extLst>
          </p:cNvPr>
          <p:cNvCxnSpPr>
            <a:cxnSpLocks/>
            <a:stCxn id="3" idx="2"/>
            <a:endCxn id="7" idx="0"/>
          </p:cNvCxnSpPr>
          <p:nvPr/>
        </p:nvCxnSpPr>
        <p:spPr>
          <a:xfrm rot="5400000">
            <a:off x="4526453" y="1082942"/>
            <a:ext cx="524296" cy="2791089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F91D808D-CD9B-4B6B-995A-EB99B160BEF0}"/>
              </a:ext>
            </a:extLst>
          </p:cNvPr>
          <p:cNvSpPr/>
          <p:nvPr/>
        </p:nvSpPr>
        <p:spPr>
          <a:xfrm>
            <a:off x="2522574" y="2740634"/>
            <a:ext cx="1740964" cy="198404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omi on maailman kilpailukykyisimpiä valtioita ja maailman paras paikka teknologiayrityksille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545431E-52A9-4309-BA25-4ED3FC8D06BE}"/>
              </a:ext>
            </a:extLst>
          </p:cNvPr>
          <p:cNvSpPr/>
          <p:nvPr/>
        </p:nvSpPr>
        <p:spPr>
          <a:xfrm>
            <a:off x="4400607" y="2740634"/>
            <a:ext cx="1740964" cy="198404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omessa on maailman tunnetuimpia ja houkuttelevimpia teknologia-alan koulutuksen, tutkimuksen, osaajien ja investointien keskuksia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4E72E59-807D-4D65-B6CE-8FB0C24BC27F}"/>
              </a:ext>
            </a:extLst>
          </p:cNvPr>
          <p:cNvSpPr/>
          <p:nvPr/>
        </p:nvSpPr>
        <p:spPr>
          <a:xfrm>
            <a:off x="6278640" y="2740634"/>
            <a:ext cx="1740964" cy="1984048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omessa on maailman tehokkain julkinen sektori, joka mahdollistaa ihmisten ja yritysten hyvinvoinnin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A9A585-4F25-459A-84FA-A20F757A7681}"/>
              </a:ext>
            </a:extLst>
          </p:cNvPr>
          <p:cNvSpPr/>
          <p:nvPr/>
        </p:nvSpPr>
        <p:spPr>
          <a:xfrm>
            <a:off x="8156673" y="2740633"/>
            <a:ext cx="1740964" cy="198404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omi hyötyy laajalti  globaaleihin haasteisiin vastaavien teknologioiden rohkeasta kehittämisestä ja soveltamisesta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E020156B-AFC1-4377-8CFF-61AB67FE10B8}"/>
              </a:ext>
            </a:extLst>
          </p:cNvPr>
          <p:cNvCxnSpPr>
            <a:cxnSpLocks/>
            <a:stCxn id="3" idx="2"/>
            <a:endCxn id="9" idx="0"/>
          </p:cNvCxnSpPr>
          <p:nvPr/>
        </p:nvCxnSpPr>
        <p:spPr>
          <a:xfrm rot="16200000" flipH="1">
            <a:off x="6404485" y="1995997"/>
            <a:ext cx="524296" cy="96497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E79A36C1-B0D5-4E9D-B263-5C463C8E044F}"/>
              </a:ext>
            </a:extLst>
          </p:cNvPr>
          <p:cNvCxnSpPr>
            <a:cxnSpLocks/>
            <a:stCxn id="3" idx="2"/>
            <a:endCxn id="8" idx="0"/>
          </p:cNvCxnSpPr>
          <p:nvPr/>
        </p:nvCxnSpPr>
        <p:spPr>
          <a:xfrm rot="5400000">
            <a:off x="5465469" y="2021958"/>
            <a:ext cx="524296" cy="91305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B7FA4EA0-713E-4B43-9D2C-4BCA2C348C35}"/>
              </a:ext>
            </a:extLst>
          </p:cNvPr>
          <p:cNvCxnSpPr>
            <a:cxnSpLocks/>
            <a:stCxn id="3" idx="2"/>
            <a:endCxn id="10" idx="0"/>
          </p:cNvCxnSpPr>
          <p:nvPr/>
        </p:nvCxnSpPr>
        <p:spPr>
          <a:xfrm rot="16200000" flipH="1">
            <a:off x="7343503" y="1056980"/>
            <a:ext cx="524295" cy="284301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Oval 20">
            <a:extLst>
              <a:ext uri="{FF2B5EF4-FFF2-40B4-BE49-F238E27FC236}">
                <a16:creationId xmlns:a16="http://schemas.microsoft.com/office/drawing/2014/main" id="{525C3112-9442-408B-88D0-25A64134843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055058" y="2647207"/>
            <a:ext cx="306911" cy="306911"/>
          </a:xfrm>
          <a:prstGeom prst="ellipse">
            <a:avLst/>
          </a:prstGeom>
          <a:solidFill>
            <a:schemeClr val="bg2">
              <a:lumMod val="50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23" name="Oval 20">
            <a:extLst>
              <a:ext uri="{FF2B5EF4-FFF2-40B4-BE49-F238E27FC236}">
                <a16:creationId xmlns:a16="http://schemas.microsoft.com/office/drawing/2014/main" id="{80EA7511-21B6-4826-A9E0-F3ECF7EF4C0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83794" y="2647207"/>
            <a:ext cx="306911" cy="306911"/>
          </a:xfrm>
          <a:prstGeom prst="ellipse">
            <a:avLst/>
          </a:prstGeom>
          <a:solidFill>
            <a:schemeClr val="tx2">
              <a:lumMod val="50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24" name="Oval 20">
            <a:extLst>
              <a:ext uri="{FF2B5EF4-FFF2-40B4-BE49-F238E27FC236}">
                <a16:creationId xmlns:a16="http://schemas.microsoft.com/office/drawing/2014/main" id="{0D164DEC-AD13-42B1-A32E-1863715FF38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12530" y="2647207"/>
            <a:ext cx="306911" cy="306911"/>
          </a:xfrm>
          <a:prstGeom prst="ellipse">
            <a:avLst/>
          </a:prstGeom>
          <a:solidFill>
            <a:schemeClr val="tx2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25" name="Oval 20">
            <a:extLst>
              <a:ext uri="{FF2B5EF4-FFF2-40B4-BE49-F238E27FC236}">
                <a16:creationId xmlns:a16="http://schemas.microsoft.com/office/drawing/2014/main" id="{14604642-DD51-4064-AD03-646664F59AB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441266" y="2647207"/>
            <a:ext cx="306911" cy="306911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D23E224-F0CC-427E-858F-BBEA2605A1F2}"/>
              </a:ext>
            </a:extLst>
          </p:cNvPr>
          <p:cNvSpPr/>
          <p:nvPr/>
        </p:nvSpPr>
        <p:spPr>
          <a:xfrm>
            <a:off x="10034707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1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9A2F6FD-3DF8-4CA5-A0CE-D85A5E15D852}"/>
              </a:ext>
            </a:extLst>
          </p:cNvPr>
          <p:cNvSpPr/>
          <p:nvPr/>
        </p:nvSpPr>
        <p:spPr>
          <a:xfrm>
            <a:off x="8156673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1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901A786D-7CC4-48C7-9DCC-0BCE28811816}"/>
              </a:ext>
            </a:extLst>
          </p:cNvPr>
          <p:cNvSpPr/>
          <p:nvPr/>
        </p:nvSpPr>
        <p:spPr>
          <a:xfrm>
            <a:off x="8626671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2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452F9BBC-B7C0-40D0-BE6C-9DFF300AF388}"/>
              </a:ext>
            </a:extLst>
          </p:cNvPr>
          <p:cNvSpPr/>
          <p:nvPr/>
        </p:nvSpPr>
        <p:spPr>
          <a:xfrm>
            <a:off x="9096670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3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9FF4A354-828A-46C6-940D-40D8A52CCF60}"/>
              </a:ext>
            </a:extLst>
          </p:cNvPr>
          <p:cNvSpPr/>
          <p:nvPr/>
        </p:nvSpPr>
        <p:spPr>
          <a:xfrm>
            <a:off x="9566662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4</a:t>
            </a:r>
          </a:p>
        </p:txBody>
      </p:sp>
      <p:cxnSp>
        <p:nvCxnSpPr>
          <p:cNvPr id="100" name="Connector: Elbow 99">
            <a:extLst>
              <a:ext uri="{FF2B5EF4-FFF2-40B4-BE49-F238E27FC236}">
                <a16:creationId xmlns:a16="http://schemas.microsoft.com/office/drawing/2014/main" id="{0AEB516D-E6B1-4E14-81D6-6261A706D6C8}"/>
              </a:ext>
            </a:extLst>
          </p:cNvPr>
          <p:cNvCxnSpPr>
            <a:cxnSpLocks/>
          </p:cNvCxnSpPr>
          <p:nvPr/>
        </p:nvCxnSpPr>
        <p:spPr>
          <a:xfrm rot="5400000">
            <a:off x="8545967" y="4498209"/>
            <a:ext cx="214325" cy="68429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76B8CC4B-80E4-441D-803F-0F40C0BBDA2C}"/>
              </a:ext>
            </a:extLst>
          </p:cNvPr>
          <p:cNvCxnSpPr>
            <a:cxnSpLocks/>
          </p:cNvCxnSpPr>
          <p:nvPr/>
        </p:nvCxnSpPr>
        <p:spPr>
          <a:xfrm rot="5400000">
            <a:off x="8780959" y="4733212"/>
            <a:ext cx="214326" cy="21428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2" name="Connector: Elbow 101">
            <a:extLst>
              <a:ext uri="{FF2B5EF4-FFF2-40B4-BE49-F238E27FC236}">
                <a16:creationId xmlns:a16="http://schemas.microsoft.com/office/drawing/2014/main" id="{B5BE6F45-CC6F-4C0E-9A9B-2C4855584DA8}"/>
              </a:ext>
            </a:extLst>
          </p:cNvPr>
          <p:cNvCxnSpPr>
            <a:cxnSpLocks/>
          </p:cNvCxnSpPr>
          <p:nvPr/>
        </p:nvCxnSpPr>
        <p:spPr>
          <a:xfrm rot="16200000" flipH="1">
            <a:off x="9250947" y="4477498"/>
            <a:ext cx="214323" cy="72571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3" name="Connector: Elbow 102">
            <a:extLst>
              <a:ext uri="{FF2B5EF4-FFF2-40B4-BE49-F238E27FC236}">
                <a16:creationId xmlns:a16="http://schemas.microsoft.com/office/drawing/2014/main" id="{4B0D94CB-4C46-4A25-89AE-9DCD0DE1FA51}"/>
              </a:ext>
            </a:extLst>
          </p:cNvPr>
          <p:cNvCxnSpPr>
            <a:cxnSpLocks/>
          </p:cNvCxnSpPr>
          <p:nvPr/>
        </p:nvCxnSpPr>
        <p:spPr>
          <a:xfrm rot="16200000" flipH="1">
            <a:off x="9015950" y="4712495"/>
            <a:ext cx="214326" cy="25571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7D03F64-E595-4F1B-9745-2832764573B6}"/>
              </a:ext>
            </a:extLst>
          </p:cNvPr>
          <p:cNvSpPr/>
          <p:nvPr/>
        </p:nvSpPr>
        <p:spPr>
          <a:xfrm>
            <a:off x="2522574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1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050166B-AC64-4584-98E6-C8EA14C35D24}"/>
              </a:ext>
            </a:extLst>
          </p:cNvPr>
          <p:cNvSpPr/>
          <p:nvPr/>
        </p:nvSpPr>
        <p:spPr>
          <a:xfrm>
            <a:off x="2992572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2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63BE344A-D1B3-4284-A280-073429DA443A}"/>
              </a:ext>
            </a:extLst>
          </p:cNvPr>
          <p:cNvSpPr/>
          <p:nvPr/>
        </p:nvSpPr>
        <p:spPr>
          <a:xfrm>
            <a:off x="3462571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3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EB340CB8-F310-4C0C-A407-19ACD814FDE9}"/>
              </a:ext>
            </a:extLst>
          </p:cNvPr>
          <p:cNvSpPr/>
          <p:nvPr/>
        </p:nvSpPr>
        <p:spPr>
          <a:xfrm>
            <a:off x="3932563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4</a:t>
            </a:r>
          </a:p>
        </p:txBody>
      </p:sp>
      <p:cxnSp>
        <p:nvCxnSpPr>
          <p:cNvPr id="109" name="Connector: Elbow 108">
            <a:extLst>
              <a:ext uri="{FF2B5EF4-FFF2-40B4-BE49-F238E27FC236}">
                <a16:creationId xmlns:a16="http://schemas.microsoft.com/office/drawing/2014/main" id="{520BA9C5-0733-402F-B21F-BE8B769E68A5}"/>
              </a:ext>
            </a:extLst>
          </p:cNvPr>
          <p:cNvCxnSpPr>
            <a:cxnSpLocks/>
          </p:cNvCxnSpPr>
          <p:nvPr/>
        </p:nvCxnSpPr>
        <p:spPr>
          <a:xfrm rot="5400000">
            <a:off x="2911868" y="4498209"/>
            <a:ext cx="214325" cy="68429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0" name="Connector: Elbow 109">
            <a:extLst>
              <a:ext uri="{FF2B5EF4-FFF2-40B4-BE49-F238E27FC236}">
                <a16:creationId xmlns:a16="http://schemas.microsoft.com/office/drawing/2014/main" id="{C38D27FD-A7A1-41B1-9DD9-37D4B5255515}"/>
              </a:ext>
            </a:extLst>
          </p:cNvPr>
          <p:cNvCxnSpPr>
            <a:cxnSpLocks/>
          </p:cNvCxnSpPr>
          <p:nvPr/>
        </p:nvCxnSpPr>
        <p:spPr>
          <a:xfrm rot="5400000">
            <a:off x="3146860" y="4733212"/>
            <a:ext cx="214326" cy="21428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C96FB131-2304-4245-BD65-82E571301057}"/>
              </a:ext>
            </a:extLst>
          </p:cNvPr>
          <p:cNvCxnSpPr>
            <a:cxnSpLocks/>
          </p:cNvCxnSpPr>
          <p:nvPr/>
        </p:nvCxnSpPr>
        <p:spPr>
          <a:xfrm rot="16200000" flipH="1">
            <a:off x="3616848" y="4477498"/>
            <a:ext cx="214323" cy="72571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F2AEED46-AF76-4520-BD94-0C1AC79DBADC}"/>
              </a:ext>
            </a:extLst>
          </p:cNvPr>
          <p:cNvCxnSpPr>
            <a:cxnSpLocks/>
          </p:cNvCxnSpPr>
          <p:nvPr/>
        </p:nvCxnSpPr>
        <p:spPr>
          <a:xfrm rot="16200000" flipH="1">
            <a:off x="3381851" y="4712495"/>
            <a:ext cx="214326" cy="25571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BBBAF820-B75F-4B0E-92C3-2AF1F898D0A2}"/>
              </a:ext>
            </a:extLst>
          </p:cNvPr>
          <p:cNvSpPr/>
          <p:nvPr/>
        </p:nvSpPr>
        <p:spPr>
          <a:xfrm>
            <a:off x="4400607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1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12BEE2DD-3860-4C70-97CD-8EF6DAED6C2D}"/>
              </a:ext>
            </a:extLst>
          </p:cNvPr>
          <p:cNvSpPr/>
          <p:nvPr/>
        </p:nvSpPr>
        <p:spPr>
          <a:xfrm>
            <a:off x="4870605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2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26455792-30AD-468F-A3A4-5E678A11C3AC}"/>
              </a:ext>
            </a:extLst>
          </p:cNvPr>
          <p:cNvSpPr/>
          <p:nvPr/>
        </p:nvSpPr>
        <p:spPr>
          <a:xfrm>
            <a:off x="5340604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3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CAC26BCC-2CEB-41F6-A144-6B7E61C4DFC1}"/>
              </a:ext>
            </a:extLst>
          </p:cNvPr>
          <p:cNvSpPr/>
          <p:nvPr/>
        </p:nvSpPr>
        <p:spPr>
          <a:xfrm>
            <a:off x="5810596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4</a:t>
            </a:r>
          </a:p>
        </p:txBody>
      </p: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16762D64-C8E0-4EBD-8AA2-1323586BB488}"/>
              </a:ext>
            </a:extLst>
          </p:cNvPr>
          <p:cNvCxnSpPr>
            <a:cxnSpLocks/>
          </p:cNvCxnSpPr>
          <p:nvPr/>
        </p:nvCxnSpPr>
        <p:spPr>
          <a:xfrm rot="5400000">
            <a:off x="4789901" y="4498209"/>
            <a:ext cx="214325" cy="68429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9" name="Connector: Elbow 118">
            <a:extLst>
              <a:ext uri="{FF2B5EF4-FFF2-40B4-BE49-F238E27FC236}">
                <a16:creationId xmlns:a16="http://schemas.microsoft.com/office/drawing/2014/main" id="{A00303B8-D1CB-4E5D-BF96-4446D9DFB356}"/>
              </a:ext>
            </a:extLst>
          </p:cNvPr>
          <p:cNvCxnSpPr>
            <a:cxnSpLocks/>
          </p:cNvCxnSpPr>
          <p:nvPr/>
        </p:nvCxnSpPr>
        <p:spPr>
          <a:xfrm rot="5400000">
            <a:off x="5024893" y="4733212"/>
            <a:ext cx="214326" cy="21428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or: Elbow 119">
            <a:extLst>
              <a:ext uri="{FF2B5EF4-FFF2-40B4-BE49-F238E27FC236}">
                <a16:creationId xmlns:a16="http://schemas.microsoft.com/office/drawing/2014/main" id="{32E8C039-A4FE-47F9-8079-150B93E9C718}"/>
              </a:ext>
            </a:extLst>
          </p:cNvPr>
          <p:cNvCxnSpPr>
            <a:cxnSpLocks/>
          </p:cNvCxnSpPr>
          <p:nvPr/>
        </p:nvCxnSpPr>
        <p:spPr>
          <a:xfrm rot="16200000" flipH="1">
            <a:off x="5494881" y="4477498"/>
            <a:ext cx="214323" cy="72571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1" name="Connector: Elbow 120">
            <a:extLst>
              <a:ext uri="{FF2B5EF4-FFF2-40B4-BE49-F238E27FC236}">
                <a16:creationId xmlns:a16="http://schemas.microsoft.com/office/drawing/2014/main" id="{AC3A494A-43E0-4C69-BCB7-29E5A92AEFA3}"/>
              </a:ext>
            </a:extLst>
          </p:cNvPr>
          <p:cNvCxnSpPr>
            <a:cxnSpLocks/>
          </p:cNvCxnSpPr>
          <p:nvPr/>
        </p:nvCxnSpPr>
        <p:spPr>
          <a:xfrm rot="16200000" flipH="1">
            <a:off x="5259884" y="4712495"/>
            <a:ext cx="214326" cy="25571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23" name="Rectangle 122">
            <a:extLst>
              <a:ext uri="{FF2B5EF4-FFF2-40B4-BE49-F238E27FC236}">
                <a16:creationId xmlns:a16="http://schemas.microsoft.com/office/drawing/2014/main" id="{15CE00C2-5FC5-4ECB-A8A2-23D4E9F49106}"/>
              </a:ext>
            </a:extLst>
          </p:cNvPr>
          <p:cNvSpPr/>
          <p:nvPr/>
        </p:nvSpPr>
        <p:spPr>
          <a:xfrm>
            <a:off x="6278640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1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C308FA09-85A2-4132-8A95-03DEC98FA6D3}"/>
              </a:ext>
            </a:extLst>
          </p:cNvPr>
          <p:cNvSpPr/>
          <p:nvPr/>
        </p:nvSpPr>
        <p:spPr>
          <a:xfrm>
            <a:off x="6748638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2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497D525E-55AC-4DBA-85BD-E7FEC820AFC5}"/>
              </a:ext>
            </a:extLst>
          </p:cNvPr>
          <p:cNvSpPr/>
          <p:nvPr/>
        </p:nvSpPr>
        <p:spPr>
          <a:xfrm>
            <a:off x="7218637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3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B1AFC9EB-D103-43F7-A025-F022711D8D06}"/>
              </a:ext>
            </a:extLst>
          </p:cNvPr>
          <p:cNvSpPr/>
          <p:nvPr/>
        </p:nvSpPr>
        <p:spPr>
          <a:xfrm>
            <a:off x="7688629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4</a:t>
            </a:r>
          </a:p>
        </p:txBody>
      </p:sp>
      <p:cxnSp>
        <p:nvCxnSpPr>
          <p:cNvPr id="127" name="Connector: Elbow 126">
            <a:extLst>
              <a:ext uri="{FF2B5EF4-FFF2-40B4-BE49-F238E27FC236}">
                <a16:creationId xmlns:a16="http://schemas.microsoft.com/office/drawing/2014/main" id="{A17A2A11-7149-4288-BB71-BAAD9645A64E}"/>
              </a:ext>
            </a:extLst>
          </p:cNvPr>
          <p:cNvCxnSpPr>
            <a:cxnSpLocks/>
          </p:cNvCxnSpPr>
          <p:nvPr/>
        </p:nvCxnSpPr>
        <p:spPr>
          <a:xfrm rot="5400000">
            <a:off x="6667934" y="4498209"/>
            <a:ext cx="214325" cy="68429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8" name="Connector: Elbow 127">
            <a:extLst>
              <a:ext uri="{FF2B5EF4-FFF2-40B4-BE49-F238E27FC236}">
                <a16:creationId xmlns:a16="http://schemas.microsoft.com/office/drawing/2014/main" id="{100DCC7B-8AD8-4602-8CBD-F7734627EBC2}"/>
              </a:ext>
            </a:extLst>
          </p:cNvPr>
          <p:cNvCxnSpPr>
            <a:cxnSpLocks/>
          </p:cNvCxnSpPr>
          <p:nvPr/>
        </p:nvCxnSpPr>
        <p:spPr>
          <a:xfrm rot="5400000">
            <a:off x="6902926" y="4733212"/>
            <a:ext cx="214326" cy="21428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380DE3F3-49F7-4C9F-9E8A-1A8AB9F0A7E7}"/>
              </a:ext>
            </a:extLst>
          </p:cNvPr>
          <p:cNvCxnSpPr>
            <a:cxnSpLocks/>
          </p:cNvCxnSpPr>
          <p:nvPr/>
        </p:nvCxnSpPr>
        <p:spPr>
          <a:xfrm rot="16200000" flipH="1">
            <a:off x="7372914" y="4477498"/>
            <a:ext cx="214323" cy="72571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0" name="Connector: Elbow 129">
            <a:extLst>
              <a:ext uri="{FF2B5EF4-FFF2-40B4-BE49-F238E27FC236}">
                <a16:creationId xmlns:a16="http://schemas.microsoft.com/office/drawing/2014/main" id="{EA542755-B96D-4C97-B907-E1FA99CC549C}"/>
              </a:ext>
            </a:extLst>
          </p:cNvPr>
          <p:cNvCxnSpPr>
            <a:cxnSpLocks/>
          </p:cNvCxnSpPr>
          <p:nvPr/>
        </p:nvCxnSpPr>
        <p:spPr>
          <a:xfrm rot="16200000" flipH="1">
            <a:off x="7137917" y="4712495"/>
            <a:ext cx="214326" cy="25571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1" name="Rectangle 130">
            <a:extLst>
              <a:ext uri="{FF2B5EF4-FFF2-40B4-BE49-F238E27FC236}">
                <a16:creationId xmlns:a16="http://schemas.microsoft.com/office/drawing/2014/main" id="{36091495-544B-48D7-99B4-2D3B42D78C4C}"/>
              </a:ext>
            </a:extLst>
          </p:cNvPr>
          <p:cNvSpPr/>
          <p:nvPr/>
        </p:nvSpPr>
        <p:spPr>
          <a:xfrm>
            <a:off x="782320" y="5690480"/>
            <a:ext cx="1665605" cy="43088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nakoivat mittarit</a:t>
            </a:r>
            <a:r>
              <a:rPr kumimoji="0" lang="en-US" sz="14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-216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-5 kpl/KR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6723B777-E1A8-4DAD-801E-D51F5795E8F8}"/>
              </a:ext>
            </a:extLst>
          </p:cNvPr>
          <p:cNvSpPr/>
          <p:nvPr/>
        </p:nvSpPr>
        <p:spPr>
          <a:xfrm>
            <a:off x="2522574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238FB012-77FC-4AF8-9AAA-793009E7E8D9}"/>
              </a:ext>
            </a:extLst>
          </p:cNvPr>
          <p:cNvSpPr/>
          <p:nvPr/>
        </p:nvSpPr>
        <p:spPr>
          <a:xfrm>
            <a:off x="2730554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5AA60C4-F1C6-4873-BF53-913EA6924E8E}"/>
              </a:ext>
            </a:extLst>
          </p:cNvPr>
          <p:cNvSpPr/>
          <p:nvPr/>
        </p:nvSpPr>
        <p:spPr>
          <a:xfrm>
            <a:off x="2992572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F56283C-56E0-4DC7-B1A9-C9AA81A974B0}"/>
              </a:ext>
            </a:extLst>
          </p:cNvPr>
          <p:cNvSpPr/>
          <p:nvPr/>
        </p:nvSpPr>
        <p:spPr>
          <a:xfrm>
            <a:off x="3200552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40FD43D-13B7-455F-9DF9-7D3800B2A45B}"/>
              </a:ext>
            </a:extLst>
          </p:cNvPr>
          <p:cNvSpPr/>
          <p:nvPr/>
        </p:nvSpPr>
        <p:spPr>
          <a:xfrm>
            <a:off x="3932563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5" name="Connector: Elbow 94">
            <a:extLst>
              <a:ext uri="{FF2B5EF4-FFF2-40B4-BE49-F238E27FC236}">
                <a16:creationId xmlns:a16="http://schemas.microsoft.com/office/drawing/2014/main" id="{8DD8A01D-DFF1-4154-BD82-BA9E5FF3C30E}"/>
              </a:ext>
            </a:extLst>
          </p:cNvPr>
          <p:cNvCxnSpPr>
            <a:cxnSpLocks/>
            <a:stCxn id="105" idx="2"/>
            <a:endCxn id="143" idx="0"/>
          </p:cNvCxnSpPr>
          <p:nvPr/>
        </p:nvCxnSpPr>
        <p:spPr>
          <a:xfrm rot="5400000">
            <a:off x="2516115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84EBC0D8-0C37-4DCD-BDF9-D87CEF077C96}"/>
              </a:ext>
            </a:extLst>
          </p:cNvPr>
          <p:cNvCxnSpPr>
            <a:cxnSpLocks/>
            <a:stCxn id="105" idx="2"/>
            <a:endCxn id="84" idx="0"/>
          </p:cNvCxnSpPr>
          <p:nvPr/>
        </p:nvCxnSpPr>
        <p:spPr>
          <a:xfrm rot="16200000" flipH="1">
            <a:off x="2620105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34E5C6F0-1255-4421-AA40-FA2AF5911C62}"/>
              </a:ext>
            </a:extLst>
          </p:cNvPr>
          <p:cNvCxnSpPr>
            <a:cxnSpLocks/>
          </p:cNvCxnSpPr>
          <p:nvPr/>
        </p:nvCxnSpPr>
        <p:spPr>
          <a:xfrm rot="5400000">
            <a:off x="2991882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2" name="Connector: Elbow 121">
            <a:extLst>
              <a:ext uri="{FF2B5EF4-FFF2-40B4-BE49-F238E27FC236}">
                <a16:creationId xmlns:a16="http://schemas.microsoft.com/office/drawing/2014/main" id="{299E06CE-D125-4CED-A1B8-9B2C068990EB}"/>
              </a:ext>
            </a:extLst>
          </p:cNvPr>
          <p:cNvCxnSpPr>
            <a:cxnSpLocks/>
          </p:cNvCxnSpPr>
          <p:nvPr/>
        </p:nvCxnSpPr>
        <p:spPr>
          <a:xfrm rot="16200000" flipH="1">
            <a:off x="3095872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2" name="Connector: Elbow 131">
            <a:extLst>
              <a:ext uri="{FF2B5EF4-FFF2-40B4-BE49-F238E27FC236}">
                <a16:creationId xmlns:a16="http://schemas.microsoft.com/office/drawing/2014/main" id="{1D2EC7B8-AEBC-48E4-B965-B4A102C5B700}"/>
              </a:ext>
            </a:extLst>
          </p:cNvPr>
          <p:cNvCxnSpPr>
            <a:cxnSpLocks/>
          </p:cNvCxnSpPr>
          <p:nvPr/>
        </p:nvCxnSpPr>
        <p:spPr>
          <a:xfrm rot="5400000">
            <a:off x="3924284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5" name="Rectangle 134">
            <a:extLst>
              <a:ext uri="{FF2B5EF4-FFF2-40B4-BE49-F238E27FC236}">
                <a16:creationId xmlns:a16="http://schemas.microsoft.com/office/drawing/2014/main" id="{B1184F4C-32B7-440A-9B93-B2BCFA74F336}"/>
              </a:ext>
            </a:extLst>
          </p:cNvPr>
          <p:cNvSpPr/>
          <p:nvPr/>
        </p:nvSpPr>
        <p:spPr>
          <a:xfrm>
            <a:off x="4400607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85C2F6EB-7A37-42C7-8226-3A6424029335}"/>
              </a:ext>
            </a:extLst>
          </p:cNvPr>
          <p:cNvSpPr/>
          <p:nvPr/>
        </p:nvSpPr>
        <p:spPr>
          <a:xfrm>
            <a:off x="4608587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D908D486-8A03-413C-BF5B-42CE3D05CD00}"/>
              </a:ext>
            </a:extLst>
          </p:cNvPr>
          <p:cNvSpPr/>
          <p:nvPr/>
        </p:nvSpPr>
        <p:spPr>
          <a:xfrm>
            <a:off x="4870605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738AB287-43C2-48ED-A407-B8D8783D4DC9}"/>
              </a:ext>
            </a:extLst>
          </p:cNvPr>
          <p:cNvSpPr/>
          <p:nvPr/>
        </p:nvSpPr>
        <p:spPr>
          <a:xfrm>
            <a:off x="5078585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38F9C8D0-E71D-4EA6-9CC3-C9F7BCAF6B7A}"/>
              </a:ext>
            </a:extLst>
          </p:cNvPr>
          <p:cNvSpPr/>
          <p:nvPr/>
        </p:nvSpPr>
        <p:spPr>
          <a:xfrm>
            <a:off x="5810596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0" name="Connector: Elbow 139">
            <a:extLst>
              <a:ext uri="{FF2B5EF4-FFF2-40B4-BE49-F238E27FC236}">
                <a16:creationId xmlns:a16="http://schemas.microsoft.com/office/drawing/2014/main" id="{A8385B1E-F4F0-421F-AE17-BBB579F6D340}"/>
              </a:ext>
            </a:extLst>
          </p:cNvPr>
          <p:cNvCxnSpPr>
            <a:cxnSpLocks/>
            <a:endCxn id="135" idx="0"/>
          </p:cNvCxnSpPr>
          <p:nvPr/>
        </p:nvCxnSpPr>
        <p:spPr>
          <a:xfrm rot="5400000">
            <a:off x="4394148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1" name="Connector: Elbow 140">
            <a:extLst>
              <a:ext uri="{FF2B5EF4-FFF2-40B4-BE49-F238E27FC236}">
                <a16:creationId xmlns:a16="http://schemas.microsoft.com/office/drawing/2014/main" id="{50DCD61C-EA0A-4B3A-95D0-60FE17090B2D}"/>
              </a:ext>
            </a:extLst>
          </p:cNvPr>
          <p:cNvCxnSpPr>
            <a:cxnSpLocks/>
            <a:endCxn id="136" idx="0"/>
          </p:cNvCxnSpPr>
          <p:nvPr/>
        </p:nvCxnSpPr>
        <p:spPr>
          <a:xfrm rot="16200000" flipH="1">
            <a:off x="4498138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2" name="Connector: Elbow 141">
            <a:extLst>
              <a:ext uri="{FF2B5EF4-FFF2-40B4-BE49-F238E27FC236}">
                <a16:creationId xmlns:a16="http://schemas.microsoft.com/office/drawing/2014/main" id="{0BD44995-C5F1-4B60-B3B2-AF0C3531B553}"/>
              </a:ext>
            </a:extLst>
          </p:cNvPr>
          <p:cNvCxnSpPr>
            <a:cxnSpLocks/>
          </p:cNvCxnSpPr>
          <p:nvPr/>
        </p:nvCxnSpPr>
        <p:spPr>
          <a:xfrm rot="5400000">
            <a:off x="4869915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or: Elbow 157">
            <a:extLst>
              <a:ext uri="{FF2B5EF4-FFF2-40B4-BE49-F238E27FC236}">
                <a16:creationId xmlns:a16="http://schemas.microsoft.com/office/drawing/2014/main" id="{FA21F240-7AEE-41B2-A490-D91E1BAE8B07}"/>
              </a:ext>
            </a:extLst>
          </p:cNvPr>
          <p:cNvCxnSpPr>
            <a:cxnSpLocks/>
          </p:cNvCxnSpPr>
          <p:nvPr/>
        </p:nvCxnSpPr>
        <p:spPr>
          <a:xfrm rot="16200000" flipH="1">
            <a:off x="4973905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9" name="Connector: Elbow 158">
            <a:extLst>
              <a:ext uri="{FF2B5EF4-FFF2-40B4-BE49-F238E27FC236}">
                <a16:creationId xmlns:a16="http://schemas.microsoft.com/office/drawing/2014/main" id="{7C97D976-B730-4280-905F-84001A67AA09}"/>
              </a:ext>
            </a:extLst>
          </p:cNvPr>
          <p:cNvCxnSpPr>
            <a:cxnSpLocks/>
          </p:cNvCxnSpPr>
          <p:nvPr/>
        </p:nvCxnSpPr>
        <p:spPr>
          <a:xfrm rot="5400000">
            <a:off x="5802317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1" name="Rectangle 160">
            <a:extLst>
              <a:ext uri="{FF2B5EF4-FFF2-40B4-BE49-F238E27FC236}">
                <a16:creationId xmlns:a16="http://schemas.microsoft.com/office/drawing/2014/main" id="{354635D2-1344-4044-AB56-3C59AF4B03F3}"/>
              </a:ext>
            </a:extLst>
          </p:cNvPr>
          <p:cNvSpPr/>
          <p:nvPr/>
        </p:nvSpPr>
        <p:spPr>
          <a:xfrm>
            <a:off x="6278640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7493F90D-BE0C-4BFD-B785-1DB5E739CE67}"/>
              </a:ext>
            </a:extLst>
          </p:cNvPr>
          <p:cNvSpPr/>
          <p:nvPr/>
        </p:nvSpPr>
        <p:spPr>
          <a:xfrm>
            <a:off x="6486620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1050401C-66F9-4903-BD91-E735F2178AD8}"/>
              </a:ext>
            </a:extLst>
          </p:cNvPr>
          <p:cNvSpPr/>
          <p:nvPr/>
        </p:nvSpPr>
        <p:spPr>
          <a:xfrm>
            <a:off x="6748638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E173B7D1-504A-466F-8A59-CFEE90E64645}"/>
              </a:ext>
            </a:extLst>
          </p:cNvPr>
          <p:cNvSpPr/>
          <p:nvPr/>
        </p:nvSpPr>
        <p:spPr>
          <a:xfrm>
            <a:off x="6956618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BE728746-249C-488C-95F4-57248F54F0A9}"/>
              </a:ext>
            </a:extLst>
          </p:cNvPr>
          <p:cNvSpPr/>
          <p:nvPr/>
        </p:nvSpPr>
        <p:spPr>
          <a:xfrm>
            <a:off x="7688629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67" name="Connector: Elbow 166">
            <a:extLst>
              <a:ext uri="{FF2B5EF4-FFF2-40B4-BE49-F238E27FC236}">
                <a16:creationId xmlns:a16="http://schemas.microsoft.com/office/drawing/2014/main" id="{5264C4E7-8CDE-4965-8176-55D406A228C6}"/>
              </a:ext>
            </a:extLst>
          </p:cNvPr>
          <p:cNvCxnSpPr>
            <a:cxnSpLocks/>
            <a:endCxn id="161" idx="0"/>
          </p:cNvCxnSpPr>
          <p:nvPr/>
        </p:nvCxnSpPr>
        <p:spPr>
          <a:xfrm rot="5400000">
            <a:off x="6272181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8" name="Connector: Elbow 167">
            <a:extLst>
              <a:ext uri="{FF2B5EF4-FFF2-40B4-BE49-F238E27FC236}">
                <a16:creationId xmlns:a16="http://schemas.microsoft.com/office/drawing/2014/main" id="{92D3763F-1100-487D-A443-D51BE24C5973}"/>
              </a:ext>
            </a:extLst>
          </p:cNvPr>
          <p:cNvCxnSpPr>
            <a:cxnSpLocks/>
            <a:endCxn id="163" idx="0"/>
          </p:cNvCxnSpPr>
          <p:nvPr/>
        </p:nvCxnSpPr>
        <p:spPr>
          <a:xfrm rot="16200000" flipH="1">
            <a:off x="6376171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9" name="Connector: Elbow 168">
            <a:extLst>
              <a:ext uri="{FF2B5EF4-FFF2-40B4-BE49-F238E27FC236}">
                <a16:creationId xmlns:a16="http://schemas.microsoft.com/office/drawing/2014/main" id="{09EBEDB1-15CA-4B75-8A29-F6660A590D1D}"/>
              </a:ext>
            </a:extLst>
          </p:cNvPr>
          <p:cNvCxnSpPr>
            <a:cxnSpLocks/>
          </p:cNvCxnSpPr>
          <p:nvPr/>
        </p:nvCxnSpPr>
        <p:spPr>
          <a:xfrm rot="5400000">
            <a:off x="6747948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0" name="Connector: Elbow 169">
            <a:extLst>
              <a:ext uri="{FF2B5EF4-FFF2-40B4-BE49-F238E27FC236}">
                <a16:creationId xmlns:a16="http://schemas.microsoft.com/office/drawing/2014/main" id="{73EA3E69-CC58-4E55-891D-F33046147253}"/>
              </a:ext>
            </a:extLst>
          </p:cNvPr>
          <p:cNvCxnSpPr>
            <a:cxnSpLocks/>
          </p:cNvCxnSpPr>
          <p:nvPr/>
        </p:nvCxnSpPr>
        <p:spPr>
          <a:xfrm rot="16200000" flipH="1">
            <a:off x="6851938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1" name="Connector: Elbow 170">
            <a:extLst>
              <a:ext uri="{FF2B5EF4-FFF2-40B4-BE49-F238E27FC236}">
                <a16:creationId xmlns:a16="http://schemas.microsoft.com/office/drawing/2014/main" id="{DA18033C-1D78-486C-B228-069DE50FF712}"/>
              </a:ext>
            </a:extLst>
          </p:cNvPr>
          <p:cNvCxnSpPr>
            <a:cxnSpLocks/>
          </p:cNvCxnSpPr>
          <p:nvPr/>
        </p:nvCxnSpPr>
        <p:spPr>
          <a:xfrm rot="5400000">
            <a:off x="7680350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3" name="Rectangle 172">
            <a:extLst>
              <a:ext uri="{FF2B5EF4-FFF2-40B4-BE49-F238E27FC236}">
                <a16:creationId xmlns:a16="http://schemas.microsoft.com/office/drawing/2014/main" id="{03D60763-D520-48D7-8685-2978C2E886FE}"/>
              </a:ext>
            </a:extLst>
          </p:cNvPr>
          <p:cNvSpPr/>
          <p:nvPr/>
        </p:nvSpPr>
        <p:spPr>
          <a:xfrm>
            <a:off x="10034707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8" name="Connector: Elbow 177">
            <a:extLst>
              <a:ext uri="{FF2B5EF4-FFF2-40B4-BE49-F238E27FC236}">
                <a16:creationId xmlns:a16="http://schemas.microsoft.com/office/drawing/2014/main" id="{A106BEA8-3C1A-4776-BB77-AE6E0446CBDE}"/>
              </a:ext>
            </a:extLst>
          </p:cNvPr>
          <p:cNvCxnSpPr>
            <a:cxnSpLocks/>
            <a:endCxn id="173" idx="0"/>
          </p:cNvCxnSpPr>
          <p:nvPr/>
        </p:nvCxnSpPr>
        <p:spPr>
          <a:xfrm rot="5400000">
            <a:off x="10028248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4" name="Rectangle 183">
            <a:extLst>
              <a:ext uri="{FF2B5EF4-FFF2-40B4-BE49-F238E27FC236}">
                <a16:creationId xmlns:a16="http://schemas.microsoft.com/office/drawing/2014/main" id="{074ECF44-2AAD-4D2B-A354-DD18A9635CC9}"/>
              </a:ext>
            </a:extLst>
          </p:cNvPr>
          <p:cNvSpPr/>
          <p:nvPr/>
        </p:nvSpPr>
        <p:spPr>
          <a:xfrm>
            <a:off x="8156673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78D65D32-3F83-417D-8513-39B8CDA4B0A7}"/>
              </a:ext>
            </a:extLst>
          </p:cNvPr>
          <p:cNvSpPr/>
          <p:nvPr/>
        </p:nvSpPr>
        <p:spPr>
          <a:xfrm>
            <a:off x="8364653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10EE16B7-30CE-4ABE-BE7B-6FCB5F8F338C}"/>
              </a:ext>
            </a:extLst>
          </p:cNvPr>
          <p:cNvSpPr/>
          <p:nvPr/>
        </p:nvSpPr>
        <p:spPr>
          <a:xfrm>
            <a:off x="8626671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21486F9F-52E9-4E07-AEAB-8476D1E8CCCE}"/>
              </a:ext>
            </a:extLst>
          </p:cNvPr>
          <p:cNvSpPr/>
          <p:nvPr/>
        </p:nvSpPr>
        <p:spPr>
          <a:xfrm>
            <a:off x="8834651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42CE1513-284C-4BF5-B7E1-3BC2187D8A3E}"/>
              </a:ext>
            </a:extLst>
          </p:cNvPr>
          <p:cNvSpPr/>
          <p:nvPr/>
        </p:nvSpPr>
        <p:spPr>
          <a:xfrm>
            <a:off x="9566662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89" name="Connector: Elbow 188">
            <a:extLst>
              <a:ext uri="{FF2B5EF4-FFF2-40B4-BE49-F238E27FC236}">
                <a16:creationId xmlns:a16="http://schemas.microsoft.com/office/drawing/2014/main" id="{F5B97F93-7040-40C9-8AB4-B6E443812EB6}"/>
              </a:ext>
            </a:extLst>
          </p:cNvPr>
          <p:cNvCxnSpPr>
            <a:cxnSpLocks/>
            <a:endCxn id="184" idx="0"/>
          </p:cNvCxnSpPr>
          <p:nvPr/>
        </p:nvCxnSpPr>
        <p:spPr>
          <a:xfrm rot="5400000">
            <a:off x="8150214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0" name="Connector: Elbow 189">
            <a:extLst>
              <a:ext uri="{FF2B5EF4-FFF2-40B4-BE49-F238E27FC236}">
                <a16:creationId xmlns:a16="http://schemas.microsoft.com/office/drawing/2014/main" id="{5878FFCA-767F-4602-BA94-0C7127BC0314}"/>
              </a:ext>
            </a:extLst>
          </p:cNvPr>
          <p:cNvCxnSpPr>
            <a:cxnSpLocks/>
            <a:endCxn id="185" idx="0"/>
          </p:cNvCxnSpPr>
          <p:nvPr/>
        </p:nvCxnSpPr>
        <p:spPr>
          <a:xfrm rot="16200000" flipH="1">
            <a:off x="8254204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or: Elbow 190">
            <a:extLst>
              <a:ext uri="{FF2B5EF4-FFF2-40B4-BE49-F238E27FC236}">
                <a16:creationId xmlns:a16="http://schemas.microsoft.com/office/drawing/2014/main" id="{81224AF9-1029-4C1F-B00F-31BB84ECA169}"/>
              </a:ext>
            </a:extLst>
          </p:cNvPr>
          <p:cNvCxnSpPr>
            <a:cxnSpLocks/>
          </p:cNvCxnSpPr>
          <p:nvPr/>
        </p:nvCxnSpPr>
        <p:spPr>
          <a:xfrm rot="5400000">
            <a:off x="8625981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2" name="Connector: Elbow 191">
            <a:extLst>
              <a:ext uri="{FF2B5EF4-FFF2-40B4-BE49-F238E27FC236}">
                <a16:creationId xmlns:a16="http://schemas.microsoft.com/office/drawing/2014/main" id="{6D4C82C7-E9F6-4215-BF51-CB254C0AA9F3}"/>
              </a:ext>
            </a:extLst>
          </p:cNvPr>
          <p:cNvCxnSpPr>
            <a:cxnSpLocks/>
          </p:cNvCxnSpPr>
          <p:nvPr/>
        </p:nvCxnSpPr>
        <p:spPr>
          <a:xfrm rot="16200000" flipH="1">
            <a:off x="8729971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3" name="Connector: Elbow 192">
            <a:extLst>
              <a:ext uri="{FF2B5EF4-FFF2-40B4-BE49-F238E27FC236}">
                <a16:creationId xmlns:a16="http://schemas.microsoft.com/office/drawing/2014/main" id="{B0F651D7-2DAB-4402-B257-6D0DEFD34F4E}"/>
              </a:ext>
            </a:extLst>
          </p:cNvPr>
          <p:cNvCxnSpPr>
            <a:cxnSpLocks/>
          </p:cNvCxnSpPr>
          <p:nvPr/>
        </p:nvCxnSpPr>
        <p:spPr>
          <a:xfrm rot="5400000">
            <a:off x="9558383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F3F0E4FD-0FD3-4AC1-BDF9-143DB146601A}"/>
              </a:ext>
            </a:extLst>
          </p:cNvPr>
          <p:cNvSpPr/>
          <p:nvPr/>
        </p:nvSpPr>
        <p:spPr>
          <a:xfrm>
            <a:off x="2409825" y="4724680"/>
            <a:ext cx="9365846" cy="1525883"/>
          </a:xfrm>
          <a:prstGeom prst="rect">
            <a:avLst/>
          </a:prstGeom>
          <a:solidFill>
            <a:srgbClr val="FFFFFF">
              <a:alpha val="7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4" name="Speech Bubble: Rectangle 281">
            <a:extLst>
              <a:ext uri="{FF2B5EF4-FFF2-40B4-BE49-F238E27FC236}">
                <a16:creationId xmlns:a16="http://schemas.microsoft.com/office/drawing/2014/main" id="{913FCBD6-573F-4801-B6BC-0F55230A81F5}"/>
              </a:ext>
            </a:extLst>
          </p:cNvPr>
          <p:cNvSpPr/>
          <p:nvPr/>
        </p:nvSpPr>
        <p:spPr>
          <a:xfrm>
            <a:off x="3339724" y="5154037"/>
            <a:ext cx="6240968" cy="888307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voitteet ja avaintulosten kehitys raportoidaan julkisesti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nakoivat mittarit ovat ensisijaisesti TNVK:n sisäisessä käytössä</a:t>
            </a:r>
          </a:p>
        </p:txBody>
      </p:sp>
      <p:sp>
        <p:nvSpPr>
          <p:cNvPr id="32" name="Suorakulmio 31"/>
          <p:cNvSpPr/>
          <p:nvPr/>
        </p:nvSpPr>
        <p:spPr>
          <a:xfrm>
            <a:off x="10034706" y="4919399"/>
            <a:ext cx="736212" cy="1274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Rectangle 3">
            <a:extLst>
              <a:ext uri="{FF2B5EF4-FFF2-40B4-BE49-F238E27FC236}">
                <a16:creationId xmlns:a16="http://schemas.microsoft.com/office/drawing/2014/main" id="{5472101D-0B1A-49C8-B2FD-369FE1BDD15B}"/>
              </a:ext>
            </a:extLst>
          </p:cNvPr>
          <p:cNvSpPr/>
          <p:nvPr/>
        </p:nvSpPr>
        <p:spPr>
          <a:xfrm>
            <a:off x="826359" y="1699168"/>
            <a:ext cx="1475105" cy="43088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immäinen päämäärä</a:t>
            </a:r>
          </a:p>
        </p:txBody>
      </p:sp>
      <p:sp>
        <p:nvSpPr>
          <p:cNvPr id="11" name="Tekstiruutu 10"/>
          <p:cNvSpPr txBox="1"/>
          <p:nvPr/>
        </p:nvSpPr>
        <p:spPr>
          <a:xfrm>
            <a:off x="136698" y="-35247"/>
            <a:ext cx="12009745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dirty="0" smtClean="0">
                <a:solidFill>
                  <a:srgbClr val="FF0000"/>
                </a:solidFill>
              </a:rPr>
              <a:t>Keskusteluun tavoitteiden esitysjärjestys, vaikka ovatkin samanarvoisia – vaihtoehtona esimerkiksi 2, 3,1, 4</a:t>
            </a:r>
          </a:p>
          <a:p>
            <a:r>
              <a:rPr lang="fi-FI" dirty="0">
                <a:solidFill>
                  <a:srgbClr val="FF0000"/>
                </a:solidFill>
              </a:rPr>
              <a:t>T</a:t>
            </a:r>
            <a:r>
              <a:rPr lang="fi-FI" dirty="0" smtClean="0">
                <a:solidFill>
                  <a:srgbClr val="FF0000"/>
                </a:solidFill>
              </a:rPr>
              <a:t>avoitteen </a:t>
            </a:r>
            <a:r>
              <a:rPr lang="fi-FI" dirty="0">
                <a:solidFill>
                  <a:srgbClr val="FF0000"/>
                </a:solidFill>
              </a:rPr>
              <a:t>3 </a:t>
            </a:r>
            <a:r>
              <a:rPr lang="fi-FI" dirty="0" smtClean="0">
                <a:solidFill>
                  <a:srgbClr val="FF0000"/>
                </a:solidFill>
              </a:rPr>
              <a:t>sanoittaminen – mietitäänkö vielä vaihtoehtoa tehokkaalle tai jättää se pois otsikosta, </a:t>
            </a:r>
            <a:r>
              <a:rPr lang="fi-FI" dirty="0">
                <a:solidFill>
                  <a:srgbClr val="FF0000"/>
                </a:solidFill>
              </a:rPr>
              <a:t>Suomessa julkinen sektori vahvistaa ihmisten hyvinvointia ja yritysten </a:t>
            </a:r>
            <a:r>
              <a:rPr lang="fi-FI" dirty="0" smtClean="0">
                <a:solidFill>
                  <a:srgbClr val="FF0000"/>
                </a:solidFill>
              </a:rPr>
              <a:t>elinvoimaa tms.</a:t>
            </a:r>
          </a:p>
          <a:p>
            <a:r>
              <a:rPr lang="fi-FI" dirty="0" smtClean="0">
                <a:solidFill>
                  <a:srgbClr val="FF0000"/>
                </a:solidFill>
              </a:rPr>
              <a:t>Alakohtiin vähäisiä muutoksia, katsotaan tiivistämistä – tarkistatteko vielä alkuviikosta</a:t>
            </a:r>
            <a:endParaRPr lang="fi-FI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418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83D2B19-6B23-47B5-8234-A2405420E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6"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83D2B19-6B23-47B5-8234-A2405420E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31C25F4-BE12-4CC6-82E2-E9FFC2F71D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239295-5E0C-C446-9CEF-922B4CC66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200" y="69289"/>
            <a:ext cx="10571480" cy="1009739"/>
          </a:xfrm>
        </p:spPr>
        <p:txBody>
          <a:bodyPr/>
          <a:lstStyle/>
          <a:p>
            <a:r>
              <a:rPr lang="fi-FI" dirty="0" smtClean="0">
                <a:sym typeface="+mj-lt"/>
              </a:rPr>
              <a:t>Tavoite 1: Avaintulokset </a:t>
            </a:r>
            <a:r>
              <a:rPr lang="fi-FI" dirty="0">
                <a:sym typeface="+mj-lt"/>
              </a:rPr>
              <a:t>ja tavoitetasot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E3803DE-18EE-6C48-B756-4D42743DAC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19" name="Table 7">
            <a:extLst>
              <a:ext uri="{FF2B5EF4-FFF2-40B4-BE49-F238E27FC236}">
                <a16:creationId xmlns:a16="http://schemas.microsoft.com/office/drawing/2014/main" id="{A3D0EA9E-AE79-4451-97DE-8CB58D3712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5888378"/>
              </p:ext>
            </p:extLst>
          </p:nvPr>
        </p:nvGraphicFramePr>
        <p:xfrm>
          <a:off x="781199" y="827786"/>
          <a:ext cx="11146341" cy="512126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786586">
                  <a:extLst>
                    <a:ext uri="{9D8B030D-6E8A-4147-A177-3AD203B41FA5}">
                      <a16:colId xmlns:a16="http://schemas.microsoft.com/office/drawing/2014/main" val="2336751554"/>
                    </a:ext>
                  </a:extLst>
                </a:gridCol>
                <a:gridCol w="3727129">
                  <a:extLst>
                    <a:ext uri="{9D8B030D-6E8A-4147-A177-3AD203B41FA5}">
                      <a16:colId xmlns:a16="http://schemas.microsoft.com/office/drawing/2014/main" val="678260534"/>
                    </a:ext>
                  </a:extLst>
                </a:gridCol>
                <a:gridCol w="2063316">
                  <a:extLst>
                    <a:ext uri="{9D8B030D-6E8A-4147-A177-3AD203B41FA5}">
                      <a16:colId xmlns:a16="http://schemas.microsoft.com/office/drawing/2014/main" val="1755089694"/>
                    </a:ext>
                  </a:extLst>
                </a:gridCol>
                <a:gridCol w="2569310">
                  <a:extLst>
                    <a:ext uri="{9D8B030D-6E8A-4147-A177-3AD203B41FA5}">
                      <a16:colId xmlns:a16="http://schemas.microsoft.com/office/drawing/2014/main" val="2380818782"/>
                    </a:ext>
                  </a:extLst>
                </a:gridCol>
              </a:tblGrid>
              <a:tr h="534110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Avaintulos</a:t>
                      </a:r>
                    </a:p>
                  </a:txBody>
                  <a:tcPr marL="0" marR="72000" marT="73152" marB="73152" anchor="b">
                    <a:lnT>
                      <a:noFill/>
                    </a:lnT>
                    <a:lnB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Mittari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Nykytaso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avoitetaso 2030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1291916"/>
                  </a:ext>
                </a:extLst>
              </a:tr>
              <a:tr h="707251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noProof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1: Kansainvälinen </a:t>
                      </a:r>
                      <a:r>
                        <a:rPr lang="fi-FI" sz="1200" b="0" i="0" u="none" noProof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ilpailukyky kasvaa</a:t>
                      </a: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ijoitus WEF Global Competitiveness Indexissä nousee takaisin top 3</a:t>
                      </a: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11</a:t>
                      </a:r>
                    </a:p>
                  </a:txBody>
                  <a:tcPr marL="0" marR="746645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1-3</a:t>
                      </a:r>
                    </a:p>
                  </a:txBody>
                  <a:tcPr marL="0" marR="1015169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2679629"/>
                  </a:ext>
                </a:extLst>
              </a:tr>
              <a:tr h="633660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2:</a:t>
                      </a:r>
                      <a:r>
                        <a:rPr lang="fi-FI" sz="1200" b="0" i="0" u="none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</a:t>
                      </a:r>
                      <a:r>
                        <a:rPr lang="fi-FI" sz="1200" b="0" i="0" u="none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Viennin </a:t>
                      </a: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uhde BKT:hen palautuu finanssikriisiä edeltävälle tasolle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avara- ja palveluviennin</a:t>
                      </a:r>
                      <a:r>
                        <a:rPr lang="fi-FI" sz="1200" b="0" i="0" u="none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suhde BKT:hen kasvaa Ruotsin ja Saksan nykytasolle</a:t>
                      </a:r>
                      <a:endParaRPr lang="fi-FI" sz="1200" b="0" i="0" u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Noin 40%</a:t>
                      </a:r>
                    </a:p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ilastokeskus</a:t>
                      </a:r>
                    </a:p>
                  </a:txBody>
                  <a:tcPr marL="0" marR="74664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45-47 %</a:t>
                      </a:r>
                    </a:p>
                  </a:txBody>
                  <a:tcPr marL="0" marR="1015169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573122"/>
                  </a:ext>
                </a:extLst>
              </a:tr>
              <a:tr h="645617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3: TK-investoinnit </a:t>
                      </a: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oko yhteiskunnassa kasvavat merkittävästi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K-panosten osuus BKT:sta kasvaa maailman huippujen tasolle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2,8%</a:t>
                      </a:r>
                    </a:p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ilastokeskus</a:t>
                      </a:r>
                    </a:p>
                  </a:txBody>
                  <a:tcPr marL="0" marR="74664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5% (2033)</a:t>
                      </a:r>
                    </a:p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eskimäärin 0,17%-yksikköä vuosittain   </a:t>
                      </a:r>
                    </a:p>
                  </a:txBody>
                  <a:tcPr marL="0" marR="1015169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1526174"/>
                  </a:ext>
                </a:extLst>
              </a:tr>
              <a:tr h="960055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4:</a:t>
                      </a:r>
                      <a:r>
                        <a:rPr lang="fi-FI" sz="1200" b="0" i="0" u="none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</a:t>
                      </a:r>
                      <a:r>
                        <a:rPr lang="fi-FI" sz="1200" b="0" i="0" u="none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Yritysten </a:t>
                      </a: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K-investoinnit kasvavat merkittävästi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Yritysten TK-panosten osuus </a:t>
                      </a:r>
                      <a:r>
                        <a:rPr lang="fi-FI" sz="1200" b="0" i="0" u="none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BKT:sta</a:t>
                      </a: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kasvaa maailman huippujen tasolle 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1,8%</a:t>
                      </a:r>
                    </a:p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OECD, Main Science and Technology </a:t>
                      </a:r>
                      <a:r>
                        <a:rPr lang="fi-FI" sz="1200" b="0" i="0" u="none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Indicators</a:t>
                      </a:r>
                      <a:endParaRPr lang="fi-FI" sz="1200" b="0" i="0" u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74664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kumimoji="0" lang="fi-FI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  <a:sym typeface="Trebuchet MS" panose="020B0603020202020204" pitchFamily="34" charset="0"/>
                        </a:rPr>
                        <a:t>3,67 % (2033)</a:t>
                      </a:r>
                      <a:endParaRPr lang="fi-FI" sz="1200" b="0" i="1" u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1015169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648753"/>
                  </a:ext>
                </a:extLst>
              </a:tr>
              <a:tr h="98091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5: Yritysten </a:t>
                      </a: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iinteät </a:t>
                      </a: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investoinnit </a:t>
                      </a:r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uomessa</a:t>
                      </a:r>
                      <a:r>
                        <a:rPr lang="fi-FI" sz="1200" b="0" i="0" u="non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</a:t>
                      </a:r>
                      <a:r>
                        <a:rPr lang="fi-FI" sz="1200" b="0" i="0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asvavat </a:t>
                      </a:r>
                      <a:r>
                        <a:rPr lang="fi-FI" sz="1200" b="0" i="0" u="non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merkittävästi</a:t>
                      </a:r>
                      <a:endParaRPr lang="fi-FI" sz="1200" b="0" i="0" u="none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Yritysten kiinteiden </a:t>
                      </a:r>
                      <a:r>
                        <a:rPr lang="fi-FI" sz="1200" b="0" i="0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investointien osuus yritysten arvonlisäyksestä kasvaa Ruotsin ja euromaiden tasolle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22-23 %</a:t>
                      </a:r>
                    </a:p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Eurostat</a:t>
                      </a:r>
                    </a:p>
                  </a:txBody>
                  <a:tcPr marL="0" marR="74664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25-26 %</a:t>
                      </a:r>
                    </a:p>
                  </a:txBody>
                  <a:tcPr marL="0" marR="102072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5724375"/>
                  </a:ext>
                </a:extLst>
              </a:tr>
              <a:tr h="6138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6:</a:t>
                      </a:r>
                      <a:r>
                        <a:rPr lang="fi-FI" sz="1200" b="0" i="0" u="non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</a:t>
                      </a: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uomi </a:t>
                      </a: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on paras paikka perustaa </a:t>
                      </a: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yritys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ijoitus World Bankin Doing Business indeksin "Yrityksen perustaminen" kategoriassa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31</a:t>
                      </a:r>
                    </a:p>
                  </a:txBody>
                  <a:tcPr marL="0" marR="74664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1</a:t>
                      </a:r>
                    </a:p>
                  </a:txBody>
                  <a:tcPr marL="0" marR="102072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06958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4286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83D2B19-6B23-47B5-8234-A2405420E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58"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83D2B19-6B23-47B5-8234-A2405420E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29927BD-4909-401E-B2D0-A2CF7AD8F78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239295-5E0C-C446-9CEF-922B4CC66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5690" y="88490"/>
            <a:ext cx="10571480" cy="1009739"/>
          </a:xfrm>
        </p:spPr>
        <p:txBody>
          <a:bodyPr/>
          <a:lstStyle/>
          <a:p>
            <a:r>
              <a:rPr lang="fi-FI" dirty="0" smtClean="0">
                <a:sym typeface="+mj-lt"/>
              </a:rPr>
              <a:t>Tavoite 2: Avaintulokset </a:t>
            </a:r>
            <a:r>
              <a:rPr lang="fi-FI" dirty="0">
                <a:sym typeface="+mj-lt"/>
              </a:rPr>
              <a:t>ja tavoitetasot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E3803DE-18EE-6C48-B756-4D42743DAC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19" name="Table 7">
            <a:extLst>
              <a:ext uri="{FF2B5EF4-FFF2-40B4-BE49-F238E27FC236}">
                <a16:creationId xmlns:a16="http://schemas.microsoft.com/office/drawing/2014/main" id="{A3D0EA9E-AE79-4451-97DE-8CB58D3712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364624"/>
              </p:ext>
            </p:extLst>
          </p:nvPr>
        </p:nvGraphicFramePr>
        <p:xfrm>
          <a:off x="545690" y="676567"/>
          <a:ext cx="10808110" cy="6198432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595716">
                  <a:extLst>
                    <a:ext uri="{9D8B030D-6E8A-4147-A177-3AD203B41FA5}">
                      <a16:colId xmlns:a16="http://schemas.microsoft.com/office/drawing/2014/main" val="2336751554"/>
                    </a:ext>
                  </a:extLst>
                </a:gridCol>
                <a:gridCol w="3695415">
                  <a:extLst>
                    <a:ext uri="{9D8B030D-6E8A-4147-A177-3AD203B41FA5}">
                      <a16:colId xmlns:a16="http://schemas.microsoft.com/office/drawing/2014/main" val="678260534"/>
                    </a:ext>
                  </a:extLst>
                </a:gridCol>
                <a:gridCol w="2144947">
                  <a:extLst>
                    <a:ext uri="{9D8B030D-6E8A-4147-A177-3AD203B41FA5}">
                      <a16:colId xmlns:a16="http://schemas.microsoft.com/office/drawing/2014/main" val="1755089694"/>
                    </a:ext>
                  </a:extLst>
                </a:gridCol>
                <a:gridCol w="2372032">
                  <a:extLst>
                    <a:ext uri="{9D8B030D-6E8A-4147-A177-3AD203B41FA5}">
                      <a16:colId xmlns:a16="http://schemas.microsoft.com/office/drawing/2014/main" val="2380818782"/>
                    </a:ext>
                  </a:extLst>
                </a:gridCol>
              </a:tblGrid>
              <a:tr h="288671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Avaintulos</a:t>
                      </a:r>
                    </a:p>
                  </a:txBody>
                  <a:tcPr marL="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Mittari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Nykytaso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avoitetaso 2030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1291916"/>
                  </a:ext>
                </a:extLst>
              </a:tr>
              <a:tr h="887903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1:</a:t>
                      </a:r>
                      <a:r>
                        <a:rPr lang="fi-FI" sz="1200" b="0" i="0" u="none" kern="1200" baseline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</a:t>
                      </a: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Ulkomaiset </a:t>
                      </a:r>
                      <a:r>
                        <a:rPr lang="fi-FI" sz="12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investoinnit Suomeen kasvavat</a:t>
                      </a: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Ulkomaisten suorien sijoitusten</a:t>
                      </a:r>
                      <a:r>
                        <a:rPr lang="fi-FI" sz="1200" b="0" i="0" u="none" kern="1200" baseline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kanta</a:t>
                      </a: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/ BKT nousee Ruotsin tasolle</a:t>
                      </a:r>
                      <a:endParaRPr lang="fi-FI" sz="12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32%</a:t>
                      </a:r>
                      <a:endParaRPr lang="fi-FI" sz="12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668063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64%</a:t>
                      </a:r>
                      <a:endParaRPr lang="fi-FI" sz="12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908013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2679629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2:</a:t>
                      </a:r>
                      <a:r>
                        <a:rPr lang="fi-FI" sz="1200" b="0" i="0" u="none" kern="1200" baseline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</a:t>
                      </a: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uomen </a:t>
                      </a:r>
                      <a:r>
                        <a:rPr lang="fi-FI" sz="12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houkuttelevuus </a:t>
                      </a:r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ulkomaisille</a:t>
                      </a:r>
                      <a:r>
                        <a:rPr lang="fi-FI" sz="1200" b="0" i="0" u="none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osaajille</a:t>
                      </a:r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</a:t>
                      </a:r>
                      <a:r>
                        <a:rPr lang="fi-FI" sz="12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asvaa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ijoitus Global Talent Competitiveness indeksissä mailman huipulle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7</a:t>
                      </a:r>
                    </a:p>
                  </a:txBody>
                  <a:tcPr marL="0" marR="668063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1</a:t>
                      </a:r>
                    </a:p>
                  </a:txBody>
                  <a:tcPr marL="0" marR="908013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1905291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3: Suomen </a:t>
                      </a:r>
                      <a:r>
                        <a:rPr lang="fi-FI" sz="1200" b="0" i="0" u="none" kern="1200" noProof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eknologiaklusterit</a:t>
                      </a:r>
                      <a:r>
                        <a:rPr lang="fi-FI" sz="12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laajentuvat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ijoitus WEF Global Competitiveness Indexissä "12.02 Klusterikehityksen tila" kategoriassa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21</a:t>
                      </a:r>
                    </a:p>
                  </a:txBody>
                  <a:tcPr marL="0" marR="668063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1-3</a:t>
                      </a:r>
                      <a:endParaRPr lang="fi-FI" sz="12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908013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573122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R4:</a:t>
                      </a:r>
                      <a:r>
                        <a:rPr lang="fi-FI" sz="1200" b="0" i="0" u="none" kern="1200" baseline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yö- ja koulutusperäinen maahanmuutto lisää teknologia-alan</a:t>
                      </a:r>
                      <a:r>
                        <a:rPr lang="fi-FI" sz="1200" b="0" i="0" u="none" kern="1200" baseline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osaajien määrää Suomessa</a:t>
                      </a:r>
                      <a:endParaRPr lang="fi-FI" sz="12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Erityisasiantuntijoiden</a:t>
                      </a:r>
                      <a:r>
                        <a:rPr lang="fi-FI" sz="1200" b="0" i="0" u="non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määrän kasvu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rkeakoulutettujen nettomaahanmuuton määrä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1791 (</a:t>
                      </a:r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ulkomaiset</a:t>
                      </a:r>
                      <a:r>
                        <a:rPr lang="fi-FI" sz="1200" b="0" i="0" u="none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</a:t>
                      </a: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hakijat 2019)</a:t>
                      </a:r>
                    </a:p>
                    <a:p>
                      <a:r>
                        <a:rPr lang="fi-FI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rkeakoulutettujen Suomen kansalaisten nettomaahanmuutto (-1200?)</a:t>
                      </a:r>
                    </a:p>
                    <a:p>
                      <a:r>
                        <a:rPr lang="fi-FI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hteensä + 800?</a:t>
                      </a:r>
                      <a:endParaRPr lang="fi-FI" sz="1200" b="0" i="0" u="none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74664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hteensä +10 000 vuodessa </a:t>
                      </a:r>
                    </a:p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äksi 80% Suomessa valmistuvista ulkomaisista opiskelijoista jää Suomeen</a:t>
                      </a:r>
                      <a:endParaRPr lang="fi-FI" sz="1200" b="0" i="0" u="none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8377640"/>
                  </a:ext>
                </a:extLst>
              </a:tr>
              <a:tr h="8360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R5: Korkeakouluista syntyvien </a:t>
                      </a:r>
                      <a:r>
                        <a:rPr lang="fi-FI" sz="1200" b="0" i="0" u="none" kern="1200" dirty="0" err="1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tartupien</a:t>
                      </a: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määrä </a:t>
                      </a:r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kasvaa</a:t>
                      </a:r>
                      <a:endParaRPr lang="fi-FI" sz="1200" b="0" i="0" u="none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ulee aloittaa seuranta kaikkien korkeakoulujen osalta</a:t>
                      </a:r>
                      <a:endParaRPr lang="fi-FI" sz="12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err="1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F:n</a:t>
                      </a: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rahoitusta hakeneet kaupallistamishankkeet 150 kpl</a:t>
                      </a:r>
                      <a:r>
                        <a:rPr lang="fi-FI" sz="12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</a:t>
                      </a:r>
                      <a:endParaRPr lang="fi-FI" sz="12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74664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puuttuu</a:t>
                      </a:r>
                      <a:endParaRPr lang="fi-FI" sz="1200" b="0" i="0" u="none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3054159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r>
                        <a:rPr lang="fi-FI" sz="1200" dirty="0" smtClean="0">
                          <a:solidFill>
                            <a:srgbClr val="FF0000"/>
                          </a:solidFill>
                        </a:rPr>
                        <a:t>KR6: </a:t>
                      </a:r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Suomalaisyliopistojen määrä kansainvälisten arvioiden kärjessä kasvaa</a:t>
                      </a:r>
                      <a:endParaRPr lang="fi-FI" sz="1200" b="0" i="0" u="none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ARWU Engineering, Technology and ICT</a:t>
                      </a:r>
                      <a:endParaRPr lang="fi-FI" sz="1200" b="0" i="0" u="none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sz="1200" kern="1200" dirty="0" err="1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liopisto</a:t>
                      </a:r>
                      <a:r>
                        <a:rPr lang="en-US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err="1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joilla</a:t>
                      </a:r>
                      <a:r>
                        <a:rPr lang="en-US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50-200</a:t>
                      </a:r>
                      <a:endParaRPr lang="fi-FI" sz="1200" b="0" i="0" u="none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668063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</a:t>
                      </a:r>
                      <a:r>
                        <a:rPr lang="en-US" sz="1200" kern="1200" dirty="0" err="1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liopistoa</a:t>
                      </a:r>
                      <a:r>
                        <a:rPr lang="en-US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p 100-listalla</a:t>
                      </a:r>
                      <a:endParaRPr lang="fi-FI" sz="1200" b="0" i="0" u="none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908013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6515261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0838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83D2B19-6B23-47B5-8234-A2405420E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84"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83D2B19-6B23-47B5-8234-A2405420E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80826A3-A61B-4D86-947F-00D93764200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239295-5E0C-C446-9CEF-922B4CC66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200" y="95936"/>
            <a:ext cx="10571480" cy="1009739"/>
          </a:xfrm>
        </p:spPr>
        <p:txBody>
          <a:bodyPr/>
          <a:lstStyle/>
          <a:p>
            <a:r>
              <a:rPr lang="fi-FI" dirty="0" smtClean="0">
                <a:sym typeface="+mj-lt"/>
              </a:rPr>
              <a:t>Tavoite 3: Avaintulokset </a:t>
            </a:r>
            <a:r>
              <a:rPr lang="fi-FI" dirty="0">
                <a:sym typeface="+mj-lt"/>
              </a:rPr>
              <a:t>ja tavoitetasot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E3803DE-18EE-6C48-B756-4D42743DAC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19" name="Table 7">
            <a:extLst>
              <a:ext uri="{FF2B5EF4-FFF2-40B4-BE49-F238E27FC236}">
                <a16:creationId xmlns:a16="http://schemas.microsoft.com/office/drawing/2014/main" id="{A3D0EA9E-AE79-4451-97DE-8CB58D3712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9405661"/>
              </p:ext>
            </p:extLst>
          </p:nvPr>
        </p:nvGraphicFramePr>
        <p:xfrm>
          <a:off x="782320" y="1105675"/>
          <a:ext cx="10571480" cy="5709519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642870">
                  <a:extLst>
                    <a:ext uri="{9D8B030D-6E8A-4147-A177-3AD203B41FA5}">
                      <a16:colId xmlns:a16="http://schemas.microsoft.com/office/drawing/2014/main" val="2336751554"/>
                    </a:ext>
                  </a:extLst>
                </a:gridCol>
                <a:gridCol w="3534906">
                  <a:extLst>
                    <a:ext uri="{9D8B030D-6E8A-4147-A177-3AD203B41FA5}">
                      <a16:colId xmlns:a16="http://schemas.microsoft.com/office/drawing/2014/main" val="678260534"/>
                    </a:ext>
                  </a:extLst>
                </a:gridCol>
                <a:gridCol w="1956903">
                  <a:extLst>
                    <a:ext uri="{9D8B030D-6E8A-4147-A177-3AD203B41FA5}">
                      <a16:colId xmlns:a16="http://schemas.microsoft.com/office/drawing/2014/main" val="1755089694"/>
                    </a:ext>
                  </a:extLst>
                </a:gridCol>
                <a:gridCol w="2436801">
                  <a:extLst>
                    <a:ext uri="{9D8B030D-6E8A-4147-A177-3AD203B41FA5}">
                      <a16:colId xmlns:a16="http://schemas.microsoft.com/office/drawing/2014/main" val="2380818782"/>
                    </a:ext>
                  </a:extLst>
                </a:gridCol>
              </a:tblGrid>
              <a:tr h="429142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Avaintulos</a:t>
                      </a:r>
                    </a:p>
                  </a:txBody>
                  <a:tcPr marL="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Mittari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Nykytaso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avoitetaso 2030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1291916"/>
                  </a:ext>
                </a:extLst>
              </a:tr>
              <a:tr h="7828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1:</a:t>
                      </a:r>
                      <a:r>
                        <a:rPr lang="fi-FI" sz="1200" b="0" i="0" u="non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</a:t>
                      </a: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Julkisen </a:t>
                      </a: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ektorin automatisoidut</a:t>
                      </a:r>
                      <a:r>
                        <a:rPr lang="fi-FI" sz="1200" b="0" i="0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</a:t>
                      </a: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palvelut</a:t>
                      </a:r>
                      <a:r>
                        <a:rPr lang="fi-FI" sz="1200" b="0" i="0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lisääntyvät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aattisten ehdotusten määrä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vitettävä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7752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1015169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2679629"/>
                  </a:ext>
                </a:extLst>
              </a:tr>
              <a:tr h="7828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2: Kansalaisten </a:t>
                      </a: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digitaalinen palvelujen käyttö lisääntyy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gitaalisten julkisten palvelujen laatu, määrä ja digitaalisten palveluiden asiointiosuuden kasvu, pysyvästi DESI Digital Public Services kärkisijoille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#4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7752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#1-2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1015169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1905291"/>
                  </a:ext>
                </a:extLst>
              </a:tr>
              <a:tr h="62373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3: Julkinen </a:t>
                      </a: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ektori</a:t>
                      </a:r>
                      <a:b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</a:b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digitalisoituu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ijoitus OECD Digital government indeksin kaikissa </a:t>
                      </a: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dimensioissa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6, 23, 27,</a:t>
                      </a:r>
                      <a:b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</a:b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28, 33, 33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1-3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1015169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2532663"/>
                  </a:ext>
                </a:extLst>
              </a:tr>
              <a:tr h="13918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R4: Tiedon hyödyntämiseen pohjautuva liiketoiminnan määrä kasvaa / </a:t>
                      </a:r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yritysten suhteellinen sijoitus paranee Etlan toteuttamassa Digibarometrissä ja/tai EU:n DESI-indeksissä</a:t>
                      </a:r>
                      <a:endParaRPr lang="fi-FI" sz="1200" b="0" i="0" u="none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ilvipalveluiden, </a:t>
                      </a:r>
                      <a:r>
                        <a:rPr lang="fi-FI" sz="1200" b="0" i="0" u="none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ig</a:t>
                      </a: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atan ja tekoälyn käyttö lisäänty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ilvipalvelut 74 % (maksulliset, Tilastokeskus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ig</a:t>
                      </a: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ata 22 % yrityksistä (Tilastokeskus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koäly 8 % pk-yrityksistä käyttää tai kokeilee (pk-yritysbarometri 2018)</a:t>
                      </a:r>
                    </a:p>
                  </a:txBody>
                  <a:tcPr marL="68580" marR="68580" marT="0" marB="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1015169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3915034"/>
                  </a:ext>
                </a:extLst>
              </a:tr>
              <a:tr h="7828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5: Julkisen </a:t>
                      </a: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ektorin tehokkuus kasvaa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lkisen menojen suhde BKT:hen laskee lähemmäs verrokkimait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yöllisyysast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ltiontalouden ylijäämä</a:t>
                      </a:r>
                      <a:endParaRPr lang="fi-FI" sz="120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,3 %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1,5%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8 </a:t>
                      </a:r>
                      <a:r>
                        <a:rPr lang="fi-FI" sz="1200" kern="1200" dirty="0" err="1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r>
                        <a:rPr lang="fi-FI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</a:t>
                      </a:r>
                      <a:endParaRPr lang="fi-FI" sz="120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e 46 %</a:t>
                      </a:r>
                    </a:p>
                    <a:p>
                      <a:pPr algn="ctr"/>
                      <a:r>
                        <a:rPr lang="fi-FI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 %</a:t>
                      </a:r>
                    </a:p>
                    <a:p>
                      <a:pPr algn="ctr"/>
                      <a:r>
                        <a:rPr lang="fi-FI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8 </a:t>
                      </a:r>
                      <a:r>
                        <a:rPr lang="fi-FI" sz="1200" kern="1200" dirty="0" err="1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rd</a:t>
                      </a:r>
                      <a:r>
                        <a:rPr lang="fi-FI" sz="1200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v</a:t>
                      </a:r>
                      <a:endParaRPr lang="fi-FI" sz="1200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1526174"/>
                  </a:ext>
                </a:extLst>
              </a:tr>
              <a:tr h="7828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6: Julkisen ja yksityisen sektorin yhteistyön lisääntyminen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Julkisten palvelujen tuotanto kilpailluilla markkinoilla</a:t>
                      </a:r>
                    </a:p>
                    <a:p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PPP-hankkeiden julkinen rahoitus </a:t>
                      </a:r>
                      <a:endParaRPr lang="fi-FI" sz="1200" b="0" i="0" u="none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&lt; 30 %?</a:t>
                      </a:r>
                    </a:p>
                    <a:p>
                      <a:pPr algn="ctr"/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algn="ctr"/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XXX M€/v</a:t>
                      </a:r>
                      <a:endParaRPr lang="fi-FI" sz="1200" b="0" i="0" u="none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&gt; 50%</a:t>
                      </a:r>
                    </a:p>
                    <a:p>
                      <a:pPr marL="0" algn="l" defTabSz="914400" rtl="0" eaLnBrk="1" latinLnBrk="0" hangingPunct="1"/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algn="ctr" defTabSz="914400" rtl="0" eaLnBrk="1" latinLnBrk="0" hangingPunct="1"/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3xXXX ?</a:t>
                      </a:r>
                      <a:endParaRPr lang="fi-FI" sz="1200" b="0" i="0" u="none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740101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7257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83D2B19-6B23-47B5-8234-A2405420E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05"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83D2B19-6B23-47B5-8234-A2405420E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09D8048-364F-4F63-973B-17D4BB2ED8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239295-5E0C-C446-9CEF-922B4CC66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20" y="306000"/>
            <a:ext cx="10571480" cy="1009739"/>
          </a:xfrm>
        </p:spPr>
        <p:txBody>
          <a:bodyPr/>
          <a:lstStyle/>
          <a:p>
            <a:r>
              <a:rPr lang="fi-FI" dirty="0" smtClean="0">
                <a:sym typeface="+mj-lt"/>
              </a:rPr>
              <a:t>Tavoite 4: Avaintulokset </a:t>
            </a:r>
            <a:r>
              <a:rPr lang="fi-FI" dirty="0">
                <a:sym typeface="+mj-lt"/>
              </a:rPr>
              <a:t>ja tavoitetasot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E3803DE-18EE-6C48-B756-4D42743DAC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19" name="Table 7">
            <a:extLst>
              <a:ext uri="{FF2B5EF4-FFF2-40B4-BE49-F238E27FC236}">
                <a16:creationId xmlns:a16="http://schemas.microsoft.com/office/drawing/2014/main" id="{A3D0EA9E-AE79-4451-97DE-8CB58D3712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7099157"/>
              </p:ext>
            </p:extLst>
          </p:nvPr>
        </p:nvGraphicFramePr>
        <p:xfrm>
          <a:off x="781200" y="1315739"/>
          <a:ext cx="10915500" cy="5538687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150557">
                  <a:extLst>
                    <a:ext uri="{9D8B030D-6E8A-4147-A177-3AD203B41FA5}">
                      <a16:colId xmlns:a16="http://schemas.microsoft.com/office/drawing/2014/main" val="2336751554"/>
                    </a:ext>
                  </a:extLst>
                </a:gridCol>
                <a:gridCol w="4175063">
                  <a:extLst>
                    <a:ext uri="{9D8B030D-6E8A-4147-A177-3AD203B41FA5}">
                      <a16:colId xmlns:a16="http://schemas.microsoft.com/office/drawing/2014/main" val="678260534"/>
                    </a:ext>
                  </a:extLst>
                </a:gridCol>
                <a:gridCol w="2003735">
                  <a:extLst>
                    <a:ext uri="{9D8B030D-6E8A-4147-A177-3AD203B41FA5}">
                      <a16:colId xmlns:a16="http://schemas.microsoft.com/office/drawing/2014/main" val="1755089694"/>
                    </a:ext>
                  </a:extLst>
                </a:gridCol>
                <a:gridCol w="2586145">
                  <a:extLst>
                    <a:ext uri="{9D8B030D-6E8A-4147-A177-3AD203B41FA5}">
                      <a16:colId xmlns:a16="http://schemas.microsoft.com/office/drawing/2014/main" val="2380818782"/>
                    </a:ext>
                  </a:extLst>
                </a:gridCol>
              </a:tblGrid>
              <a:tr h="427422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Avaintulos</a:t>
                      </a:r>
                    </a:p>
                  </a:txBody>
                  <a:tcPr marL="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Mittari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Nykytaso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avoitetaso 2030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1291916"/>
                  </a:ext>
                </a:extLst>
              </a:tr>
              <a:tr h="7509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1: Panokset hiilineutraaleihin innovaatioihin kasvavat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ijoitus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Global Cleantech Innovation </a:t>
                      </a:r>
                      <a:r>
                        <a:rPr lang="en-US" sz="1200" b="0" i="0" u="none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indeksissä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2</a:t>
                      </a: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1</a:t>
                      </a: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2679629"/>
                  </a:ext>
                </a:extLst>
              </a:tr>
              <a:tr h="11263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strike="sng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ähähiiliteknologiat ja ilmastonmuutosta torjuvat ratkaisut lisääntyvät </a:t>
                      </a:r>
                      <a:r>
                        <a:rPr lang="fi-FI" sz="12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R2:</a:t>
                      </a:r>
                      <a:r>
                        <a:rPr lang="fi-FI" sz="12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200" b="0" i="0" u="none" strike="noStrik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Teknologiateollisuuden</a:t>
                      </a:r>
                      <a:r>
                        <a:rPr lang="fi-FI" sz="1200" b="0" i="0" u="none" strike="noStrike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vientituotteiden hiilikädenjälki kasvaa</a:t>
                      </a:r>
                      <a:endParaRPr lang="fi-FI" sz="1200" b="0" i="0" u="none" strike="sngStrik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strike="sng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ähähiiliteknologiat ja ilmastonmuutosta torjuvat ratkaisut muodostavat merkittävän osan viennistä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strike="noStrike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Vientituotteiden hiilikädenjälki</a:t>
                      </a:r>
                      <a:endParaRPr lang="fi-FI" sz="1200" b="0" i="0" u="none" strike="noStrike" kern="1200" baseline="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strike="noStrike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vähintään 20 Mt CO2ekv./v.</a:t>
                      </a:r>
                      <a:endParaRPr lang="fi-FI" sz="1200" b="0" i="0" u="none" strike="noStrike" kern="1200" baseline="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strike="noStrike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yli 70 Mt CO2ekv./v.</a:t>
                      </a:r>
                      <a:endParaRPr lang="fi-FI" sz="1200" b="0" i="0" u="none" strike="noStrike" kern="1200" baseline="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4051608"/>
                  </a:ext>
                </a:extLst>
              </a:tr>
              <a:tr h="7509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3: Päästöjen </a:t>
                      </a: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euranta ja raportointi yleistyy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Hiilikädenjälkeään </a:t>
                      </a:r>
                      <a:b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</a:b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ja –jalanjälkeään </a:t>
                      </a: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raportoivien </a:t>
                      </a: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eknologiayritysten määrä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Hiilikädenjälki X%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Hiilijalanjälki X%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Hiilikädenjälki X%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Hiilijalanjälki 100%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1905291"/>
                  </a:ext>
                </a:extLst>
              </a:tr>
              <a:tr h="11386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4: </a:t>
                      </a:r>
                      <a:r>
                        <a:rPr lang="fi-FI" sz="1200" b="0" i="0" u="none" strike="sng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CO2-päästöt laskeva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strike="noStrik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Kasvihuonekaasupäästöt laskevat (</a:t>
                      </a:r>
                      <a:r>
                        <a:rPr lang="fi-FI" sz="1200" b="0" i="0" u="none" strike="noStrike" kern="1200" dirty="0" err="1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khk</a:t>
                      </a:r>
                      <a:r>
                        <a:rPr lang="fi-FI" sz="1200" b="0" i="0" u="none" strike="noStrik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-päästöt </a:t>
                      </a:r>
                      <a:r>
                        <a:rPr lang="fi-FI" sz="1200" b="0" i="0" u="none" strike="noStrike" kern="1200" dirty="0" err="1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scope</a:t>
                      </a:r>
                      <a:r>
                        <a:rPr lang="fi-FI" sz="1200" b="0" i="0" u="none" strike="noStrik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1 ja 2 päästöt CO2-ekvivalentteina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strike="sng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aikkien teollisuuden alojen </a:t>
                      </a:r>
                      <a:r>
                        <a:rPr lang="fi-FI" sz="12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</a:t>
                      </a: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otuiset päästöt laskevat </a:t>
                      </a:r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teollisuuden</a:t>
                      </a: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ähähiilitiekarttojen mukaisesti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strike="noStrike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n. 17 MtCO2/a (2015)</a:t>
                      </a:r>
                      <a:endParaRPr lang="fi-FI" sz="1200" b="0" i="0" u="none" strike="noStrike" kern="1200" baseline="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strike="sng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iilineutraalisuus 2035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strike="noStrike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n. 6 MtCO2/a (2035)</a:t>
                      </a:r>
                      <a:endParaRPr lang="fi-FI" sz="1200" b="0" i="0" u="none" strike="noStrike" kern="1200" baseline="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142178"/>
                  </a:ext>
                </a:extLst>
              </a:tr>
              <a:tr h="4331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R5: Kiertotalouden ratkaisut lisääntyvät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iertotalousliiketoiminnan indikaattorit, kehitteillä Tilastokeskuksessa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1526174"/>
                  </a:ext>
                </a:extLst>
              </a:tr>
              <a:tr h="7509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200" b="0" i="0" u="none" kern="120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R6:</a:t>
                      </a:r>
                      <a:r>
                        <a:rPr lang="fi-FI" sz="1200" b="0" i="0" u="none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huoltovarmuudesta</a:t>
                      </a:r>
                      <a:endParaRPr lang="fi-FI" sz="1200" b="0" i="0" u="none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110598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7038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2026919" y="3073399"/>
            <a:ext cx="7386021" cy="1864043"/>
          </a:xfrm>
        </p:spPr>
        <p:txBody>
          <a:bodyPr/>
          <a:lstStyle/>
          <a:p>
            <a:r>
              <a:rPr lang="fi-FI" dirty="0" smtClean="0"/>
              <a:t>Nostot toimenpidekokonaisuuksista – kommentit ja muutosehdotukset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629041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82320" y="104294"/>
            <a:ext cx="10571480" cy="1325563"/>
          </a:xfrm>
        </p:spPr>
        <p:txBody>
          <a:bodyPr/>
          <a:lstStyle/>
          <a:p>
            <a:r>
              <a:rPr lang="fi-FI" dirty="0" smtClean="0"/>
              <a:t>Tavoitteen 1 </a:t>
            </a:r>
            <a:r>
              <a:rPr lang="fi-FI" dirty="0" err="1" smtClean="0"/>
              <a:t>toimenpiteistön</a:t>
            </a:r>
            <a:r>
              <a:rPr lang="fi-FI" dirty="0" smtClean="0"/>
              <a:t> pääasialliset huomiot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82320" y="1318111"/>
            <a:ext cx="10571480" cy="4248000"/>
          </a:xfrm>
        </p:spPr>
        <p:txBody>
          <a:bodyPr/>
          <a:lstStyle/>
          <a:p>
            <a:r>
              <a:rPr lang="fi-FI" sz="1800" dirty="0" smtClean="0"/>
              <a:t>TP1: Teknologiaministeri -&gt; ehdotetaan muutosta VSI, taustaan pidemmän aikavälin kehityksenä isommat rakenteelliset muutokset</a:t>
            </a:r>
          </a:p>
          <a:p>
            <a:r>
              <a:rPr lang="fi-FI" sz="1800" dirty="0" smtClean="0"/>
              <a:t>Rakenteet: tunnistettiin tarve päästä ulos siiloista, parlamentaarinen seuranta ja teknologiapolitiikan näkyminen valiokunnissa tärkeä, teknologia -&gt; teknologia- ja tietopolitiikan yhdistäminen </a:t>
            </a:r>
          </a:p>
          <a:p>
            <a:r>
              <a:rPr lang="fi-FI" sz="1800" dirty="0" smtClean="0"/>
              <a:t>TP3: TIN-uudistus -&gt; laajemmin elinkeinoelämän mukaantulo kokoonpanoon</a:t>
            </a:r>
          </a:p>
          <a:p>
            <a:r>
              <a:rPr lang="fi-FI" sz="1800" dirty="0" smtClean="0"/>
              <a:t>TP7: EU-/</a:t>
            </a:r>
            <a:r>
              <a:rPr lang="fi-FI" sz="1800" dirty="0" err="1" smtClean="0"/>
              <a:t>kv</a:t>
            </a:r>
            <a:r>
              <a:rPr lang="fi-FI" sz="1800" dirty="0" smtClean="0"/>
              <a:t>-vaikuttaminen -&gt; pitäisi olla laajemmin koko teknologiakenttään vaikuttava, nyt digi- ja datapainotus</a:t>
            </a:r>
          </a:p>
          <a:p>
            <a:r>
              <a:rPr lang="fi-FI" sz="1800" dirty="0" smtClean="0"/>
              <a:t>Ehdotettu toimenpidettä PPP-yhteistyöhön ja teknologiaennakointia</a:t>
            </a:r>
          </a:p>
          <a:p>
            <a:r>
              <a:rPr lang="fi-FI" sz="1800" dirty="0" smtClean="0"/>
              <a:t>TP8: TKI-tavoite 5% -&gt; jonkin verran kommentteja, onko realistinen, sai myös tukea -&gt; pidetään</a:t>
            </a:r>
          </a:p>
          <a:p>
            <a:r>
              <a:rPr lang="fi-FI" sz="1800" dirty="0" smtClean="0"/>
              <a:t>TP9-11: Rahoituksen suuntaaminen -&gt; pääasiassa painotukset saivat tukea, pieniä täsmennyksiä, perustutkimuksen rooli</a:t>
            </a:r>
          </a:p>
          <a:p>
            <a:r>
              <a:rPr lang="fi-FI" sz="1800" dirty="0" err="1"/>
              <a:t>PK-yritykset</a:t>
            </a:r>
            <a:r>
              <a:rPr lang="fi-FI" sz="1800" dirty="0"/>
              <a:t>: </a:t>
            </a:r>
            <a:r>
              <a:rPr lang="fi-FI" sz="1800" dirty="0" smtClean="0"/>
              <a:t>näiden innovaatiot </a:t>
            </a:r>
            <a:r>
              <a:rPr lang="fi-FI" sz="1800" dirty="0"/>
              <a:t>ja osaaminen vahvemmin mukaan</a:t>
            </a:r>
            <a:endParaRPr lang="fi-FI" sz="1800" dirty="0" smtClean="0"/>
          </a:p>
          <a:p>
            <a:r>
              <a:rPr lang="fi-FI" sz="1800" dirty="0" smtClean="0"/>
              <a:t>TP17 etätyön hyödyntäminen -&gt; sai tukea, voisi olla vahvempikin + työn innostavuus mukaan</a:t>
            </a:r>
          </a:p>
          <a:p>
            <a:r>
              <a:rPr lang="fi-FI" sz="1800" dirty="0" smtClean="0"/>
              <a:t>TP18: alustatyö -&gt; alustat pitäisi olla laajemmin + eritellä alustatyön eroja eri ryhmille</a:t>
            </a:r>
          </a:p>
          <a:p>
            <a:r>
              <a:rPr lang="fi-FI" sz="1800" dirty="0" smtClean="0"/>
              <a:t>Muihin joitain muutosehdotuksia, yleisesti kannatettavia</a:t>
            </a:r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07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Asialista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82320" y="1529484"/>
            <a:ext cx="10571480" cy="42480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fi-FI" sz="2000" dirty="0" smtClean="0"/>
              <a:t>Kokouksen avaus ja edellisen kokouksen pöytäkirja</a:t>
            </a:r>
          </a:p>
          <a:p>
            <a:pPr marL="514350" indent="-514350">
              <a:buFont typeface="+mj-lt"/>
              <a:buAutoNum type="arabicPeriod"/>
            </a:pPr>
            <a:r>
              <a:rPr lang="fi-FI" sz="2000" dirty="0" smtClean="0"/>
              <a:t>Lausuntokierroksen </a:t>
            </a:r>
            <a:r>
              <a:rPr lang="fi-FI" sz="2000" dirty="0"/>
              <a:t>palaute ja raportin lopputyöstö</a:t>
            </a:r>
          </a:p>
          <a:p>
            <a:pPr marL="869950" lvl="1" indent="-514350"/>
            <a:r>
              <a:rPr lang="fi-FI" sz="2000" i="1" dirty="0" smtClean="0"/>
              <a:t>Esittely, keskustelu ja huomiot jatkotyön pohjaksi</a:t>
            </a:r>
          </a:p>
          <a:p>
            <a:pPr marL="514350" indent="-514350">
              <a:buFont typeface="+mj-lt"/>
              <a:buAutoNum type="arabicPeriod"/>
            </a:pPr>
            <a:r>
              <a:rPr lang="fi-FI" sz="2000" dirty="0" smtClean="0"/>
              <a:t>Seurantamalli</a:t>
            </a:r>
          </a:p>
          <a:p>
            <a:pPr lvl="1"/>
            <a:r>
              <a:rPr lang="fi-FI" sz="2000" i="1" dirty="0"/>
              <a:t>Teknologianeuvottelukunnan toimintamalli </a:t>
            </a:r>
            <a:r>
              <a:rPr lang="fi-FI" sz="2000" i="1" dirty="0" smtClean="0"/>
              <a:t>seurantaan</a:t>
            </a:r>
            <a:endParaRPr lang="fi-FI" sz="2000" i="1" dirty="0"/>
          </a:p>
          <a:p>
            <a:pPr lvl="1"/>
            <a:r>
              <a:rPr lang="fi-FI" sz="2000" i="1" dirty="0" smtClean="0"/>
              <a:t>Päivitys </a:t>
            </a:r>
            <a:r>
              <a:rPr lang="fi-FI" sz="2000" i="1" dirty="0"/>
              <a:t>seurantatyökaluun </a:t>
            </a:r>
            <a:r>
              <a:rPr lang="fi-FI" sz="2000" i="1" dirty="0" smtClean="0"/>
              <a:t>liittyen</a:t>
            </a:r>
            <a:endParaRPr lang="fi-FI" sz="2000" i="1" dirty="0"/>
          </a:p>
          <a:p>
            <a:pPr marL="514350" indent="-514350">
              <a:buFont typeface="+mj-lt"/>
              <a:buAutoNum type="arabicPeriod"/>
            </a:pPr>
            <a:r>
              <a:rPr lang="fi-FI" sz="2000" dirty="0" smtClean="0"/>
              <a:t>Jatkotyöskentelystä</a:t>
            </a:r>
          </a:p>
          <a:p>
            <a:pPr marL="869950" lvl="1" indent="-514350"/>
            <a:r>
              <a:rPr lang="fi-FI" sz="2000" i="1" dirty="0" smtClean="0"/>
              <a:t>Aikataulu</a:t>
            </a:r>
          </a:p>
          <a:p>
            <a:pPr marL="514350" indent="-514350">
              <a:buFont typeface="+mj-lt"/>
              <a:buAutoNum type="arabicPeriod"/>
            </a:pPr>
            <a:r>
              <a:rPr lang="fi-FI" sz="2000" dirty="0" smtClean="0"/>
              <a:t>Muut asiat</a:t>
            </a:r>
          </a:p>
          <a:p>
            <a:pPr marL="514350" indent="-514350">
              <a:buFont typeface="+mj-lt"/>
              <a:buAutoNum type="arabicPeriod"/>
            </a:pPr>
            <a:r>
              <a:rPr lang="fi-FI" sz="2000" dirty="0" smtClean="0"/>
              <a:t>Kokouksen päättäminen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6299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isällön paikkamerkki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07628" y="49323"/>
            <a:ext cx="9821917" cy="6808677"/>
          </a:xfrm>
          <a:prstGeom prst="rect">
            <a:avLst/>
          </a:prstGeom>
        </p:spPr>
      </p:pic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20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83884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Tavoitteen 2 </a:t>
            </a:r>
            <a:r>
              <a:rPr lang="fi-FI" dirty="0" err="1" smtClean="0"/>
              <a:t>toimenpiteistön</a:t>
            </a:r>
            <a:r>
              <a:rPr lang="fi-FI" dirty="0"/>
              <a:t> pääasialliset huomiot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81200" y="1534161"/>
            <a:ext cx="10571480" cy="4248000"/>
          </a:xfrm>
        </p:spPr>
        <p:txBody>
          <a:bodyPr/>
          <a:lstStyle/>
          <a:p>
            <a:r>
              <a:rPr lang="fi-FI" sz="1800" dirty="0" smtClean="0"/>
              <a:t>Osaaminen yleisesti sai paljon kannatusta, sekä koulutus että maahanmuutto. </a:t>
            </a:r>
            <a:r>
              <a:rPr lang="fi-FI" sz="1800" dirty="0"/>
              <a:t>J</a:t>
            </a:r>
            <a:r>
              <a:rPr lang="fi-FI" sz="1800" dirty="0" smtClean="0"/>
              <a:t>älkimmäinen nopeana toimena välttämätön, esitettiin vielä vahvemmin holistista näkemystä osaamisen kehittämiseen.</a:t>
            </a:r>
          </a:p>
          <a:p>
            <a:r>
              <a:rPr lang="fi-FI" sz="1800" dirty="0" smtClean="0"/>
              <a:t>TP19: LUMA-STEAM -&gt; paljon kannatusta, joitain täsmennyksiä, ehdotuksia vientiliiketoiminnan ja johtamisosaamisen lisäämiseksi, vielä vahvempi luovien alojen ja tekniikan alojen yhdistäminen</a:t>
            </a:r>
          </a:p>
          <a:p>
            <a:r>
              <a:rPr lang="fi-FI" sz="1800" dirty="0" smtClean="0"/>
              <a:t>TP20: Jatkuva oppiminen -&gt; paljon kannatusta, mutta alakohtia katsottava tarkemmin</a:t>
            </a:r>
          </a:p>
          <a:p>
            <a:r>
              <a:rPr lang="fi-FI" sz="1800" dirty="0" smtClean="0"/>
              <a:t>TP21: Yrittäjyyskasvatus -&gt; ehdotuksia edelleen vahvistamisesta + täsmennyksiä</a:t>
            </a:r>
          </a:p>
          <a:p>
            <a:r>
              <a:rPr lang="fi-FI" sz="1800" dirty="0" smtClean="0"/>
              <a:t>TP23: Korkeakoulujen profilointi ja tutkimuksen kaupallistaminen-&gt; lähtökohtana profilointi ok, vastustusta liian suoraviivaiselle keskittämiselle, kaupallistamisen osalta pitäisi löytää oikein ohjaavat toimet, kommentteja mm. </a:t>
            </a:r>
            <a:r>
              <a:rPr lang="fi-FI" sz="1800" dirty="0" err="1" smtClean="0"/>
              <a:t>IPRiin</a:t>
            </a:r>
            <a:endParaRPr lang="fi-FI" sz="1800" dirty="0" smtClean="0"/>
          </a:p>
          <a:p>
            <a:r>
              <a:rPr lang="fi-FI" sz="1800" dirty="0" smtClean="0"/>
              <a:t>TP24-27: Työ- ja koulutusperäinen maahanmuutto -&gt; paljon kannatusta, jonkin verran täsmennyksiä ja selvennystä, huomioitava mahdolliset väärinkäytökset, 25d oleskeluvasta huippuyliopistoista valmistuneilla hankala – näitä toimi voisi tiivistää</a:t>
            </a:r>
          </a:p>
          <a:p>
            <a:r>
              <a:rPr lang="fi-FI" sz="1800" dirty="0" smtClean="0"/>
              <a:t>TP 29-31: </a:t>
            </a:r>
            <a:r>
              <a:rPr lang="fi-FI" sz="1800" dirty="0" err="1" smtClean="0"/>
              <a:t>kv</a:t>
            </a:r>
            <a:r>
              <a:rPr lang="fi-FI" sz="1800" dirty="0" smtClean="0"/>
              <a:t>-verkostot, investointien houkuttelu, maakuva -&gt; </a:t>
            </a:r>
            <a:r>
              <a:rPr lang="fi-FI" sz="1800" dirty="0" err="1" smtClean="0"/>
              <a:t>kv</a:t>
            </a:r>
            <a:r>
              <a:rPr lang="fi-FI" sz="1800" dirty="0" smtClean="0"/>
              <a:t>-kulman vahvistamista, kaikkiin jonkin </a:t>
            </a:r>
            <a:r>
              <a:rPr lang="fi-FI" sz="1800" smtClean="0"/>
              <a:t>verran täsmennyksiä </a:t>
            </a:r>
            <a:endParaRPr lang="fi-FI" sz="1800" dirty="0" smtClean="0"/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2331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22</a:t>
            </a:fld>
            <a:endParaRPr lang="fi-FI" dirty="0"/>
          </a:p>
        </p:txBody>
      </p:sp>
      <p:pic>
        <p:nvPicPr>
          <p:cNvPr id="3" name="Kuva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0724" y="362608"/>
            <a:ext cx="11981276" cy="6319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817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Tavoitteen 3 </a:t>
            </a:r>
            <a:r>
              <a:rPr lang="fi-FI" dirty="0" err="1" smtClean="0"/>
              <a:t>toimenpiteistön</a:t>
            </a:r>
            <a:r>
              <a:rPr lang="fi-FI" dirty="0"/>
              <a:t> pääasialliset huomiot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82320" y="1305561"/>
            <a:ext cx="10571480" cy="4248000"/>
          </a:xfrm>
        </p:spPr>
        <p:txBody>
          <a:bodyPr/>
          <a:lstStyle/>
          <a:p>
            <a:r>
              <a:rPr lang="fi-FI" sz="1800" dirty="0" smtClean="0"/>
              <a:t>Yleisesti kattava, mutta ehdotettiin myös tiivistämistä / priorisointia, lisäksi useita täsmennysehdotuksia, suhde vireillä olevaan työhön, tiedon hyödyntäminen tilastointitarkoituksiin, kytkentä osaamiseen</a:t>
            </a:r>
          </a:p>
          <a:p>
            <a:r>
              <a:rPr lang="fi-FI" sz="1800" dirty="0" smtClean="0"/>
              <a:t>TP32: digitaalisen yhteydenottotavan ensisijaisuus -&gt; paljon kannatusta, voisi olla vahvempikin, kytkeminen järjestöjen palveluihin, käyttäjälähtöisen kehityksen pakottaminen</a:t>
            </a:r>
          </a:p>
          <a:p>
            <a:r>
              <a:rPr lang="fi-FI" sz="1800" dirty="0" smtClean="0"/>
              <a:t>TP33: ennakoivat palvelut ja automaattiset etuudet -&gt; kannatusta, mutta myös haasteita, eteneminen asteittain tunnistettava</a:t>
            </a:r>
            <a:endParaRPr lang="fi-FI" dirty="0" smtClean="0"/>
          </a:p>
          <a:p>
            <a:r>
              <a:rPr lang="fi-FI" sz="1800" dirty="0" smtClean="0"/>
              <a:t>TP34: osallisuus -&gt; konkretisointi, ehdotuksia mm. selkokielisyys, saavutettavuusvaatimusten kouluttaminen, englanti kielenä, keskivertodigiosaajien huomiointi</a:t>
            </a:r>
          </a:p>
          <a:p>
            <a:r>
              <a:rPr lang="fi-FI" sz="1800" dirty="0" smtClean="0"/>
              <a:t>TP35: digitaalinen identiteetti -&gt; kannatusta, myös esineiden id</a:t>
            </a:r>
          </a:p>
          <a:p>
            <a:r>
              <a:rPr lang="fi-FI" sz="1800" dirty="0" smtClean="0"/>
              <a:t>TP39: julkisen sektorin data -&gt; tunnistettiin vielä paljon tehtävää, myös tuottavuuskysymys</a:t>
            </a:r>
          </a:p>
          <a:p>
            <a:r>
              <a:rPr lang="fi-FI" sz="1800" dirty="0" smtClean="0"/>
              <a:t>TP41: tietoturva -&gt; toimena sai eniten kannatusta, vahvistaminen vielä</a:t>
            </a:r>
          </a:p>
          <a:p>
            <a:r>
              <a:rPr lang="fi-FI" sz="1800" dirty="0" smtClean="0"/>
              <a:t>TP42: julkinen sektori edelläkävijänä -&gt; konkretisointi, tietojohtaminen ja muutosjohtaminen tärkeitä, muutama kriittinen, kannattaako olla edelläkävijä (riskit)</a:t>
            </a:r>
          </a:p>
          <a:p>
            <a:r>
              <a:rPr lang="fi-FI" sz="1800" dirty="0" smtClean="0"/>
              <a:t>TP43: kokeilut -&gt; laajempana mukaan, voisi yhdistää ekosysteemeihin</a:t>
            </a:r>
          </a:p>
          <a:p>
            <a:r>
              <a:rPr lang="fi-FI" sz="1800" dirty="0" smtClean="0"/>
              <a:t>Lohkoketjut mukaan johonkin kokonaisuuteen</a:t>
            </a:r>
          </a:p>
          <a:p>
            <a:endParaRPr lang="fi-FI" sz="1800" dirty="0" smtClean="0"/>
          </a:p>
          <a:p>
            <a:endParaRPr lang="fi-FI" sz="1800" dirty="0" smtClean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39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24</a:t>
            </a:fld>
            <a:endParaRPr lang="fi-FI" dirty="0"/>
          </a:p>
        </p:txBody>
      </p:sp>
      <p:pic>
        <p:nvPicPr>
          <p:cNvPr id="3" name="Kuva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976" y="435079"/>
            <a:ext cx="11629218" cy="5698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521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Tavoitteen 4 </a:t>
            </a:r>
            <a:r>
              <a:rPr lang="fi-FI" dirty="0" err="1" smtClean="0"/>
              <a:t>toimenpiteistön</a:t>
            </a:r>
            <a:r>
              <a:rPr lang="fi-FI" dirty="0"/>
              <a:t> pääasialliset huomiot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81200" y="1534161"/>
            <a:ext cx="10571480" cy="4248000"/>
          </a:xfrm>
        </p:spPr>
        <p:txBody>
          <a:bodyPr/>
          <a:lstStyle/>
          <a:p>
            <a:r>
              <a:rPr lang="fi-FI" sz="1800" dirty="0" smtClean="0"/>
              <a:t>Yleisesti kannatusta</a:t>
            </a:r>
          </a:p>
          <a:p>
            <a:r>
              <a:rPr lang="fi-FI" sz="1800" dirty="0" smtClean="0"/>
              <a:t>TP44: arviointikehikko poikkeuksiin teknologianeutraaliudesta -&gt; hyvä avaus, mutta vielä täsmennystä</a:t>
            </a:r>
          </a:p>
          <a:p>
            <a:r>
              <a:rPr lang="fi-FI" sz="1800" dirty="0" smtClean="0"/>
              <a:t>Kannustettaviin teknologia-alueisiin ehdotuksia </a:t>
            </a:r>
            <a:r>
              <a:rPr lang="fi-FI" sz="1800" dirty="0"/>
              <a:t>avaruusteknologia ja kemianteollisuuden </a:t>
            </a:r>
            <a:r>
              <a:rPr lang="fi-FI" sz="1800" dirty="0" smtClean="0"/>
              <a:t>ratkaisut osana vihreää siirtymää, sektorikytkentä energiaratkaisuissa sekä teknologia-alueet ylittävät ratkaisut</a:t>
            </a:r>
            <a:endParaRPr lang="fi-FI" sz="1800" dirty="0"/>
          </a:p>
          <a:p>
            <a:r>
              <a:rPr lang="fi-FI" sz="1800" dirty="0" smtClean="0"/>
              <a:t>Yksittäiset nostot panoksissa</a:t>
            </a:r>
          </a:p>
          <a:p>
            <a:pPr lvl="1"/>
            <a:r>
              <a:rPr lang="fi-FI" sz="1400" dirty="0" smtClean="0"/>
              <a:t>Tekoäly: ELLIS-instituutti ja LUMI </a:t>
            </a:r>
            <a:r>
              <a:rPr lang="fi-FI" sz="1400" dirty="0" err="1" smtClean="0"/>
              <a:t>HPC:n</a:t>
            </a:r>
            <a:r>
              <a:rPr lang="fi-FI" sz="1400" dirty="0" smtClean="0"/>
              <a:t> hyödyntäminen (liittyy myös kvanttiin)</a:t>
            </a:r>
          </a:p>
          <a:p>
            <a:pPr lvl="1"/>
            <a:r>
              <a:rPr lang="fi-FI" sz="1400" dirty="0" smtClean="0"/>
              <a:t>Kvantti: kvanttilaskentainfran ja kvanttiekosysteemin kehittäminen</a:t>
            </a:r>
          </a:p>
          <a:p>
            <a:pPr lvl="1"/>
            <a:r>
              <a:rPr lang="fi-FI" sz="1400" dirty="0" smtClean="0"/>
              <a:t>Lisäksi ehdotettu: </a:t>
            </a:r>
            <a:r>
              <a:rPr lang="fi-FI" sz="1400" dirty="0" err="1" smtClean="0"/>
              <a:t>Arctic</a:t>
            </a:r>
            <a:r>
              <a:rPr lang="fi-FI" sz="1400" dirty="0" smtClean="0"/>
              <a:t> </a:t>
            </a:r>
            <a:r>
              <a:rPr lang="fi-FI" sz="1400" dirty="0"/>
              <a:t>Connect R&amp;E esimerkiksi kannustettaviin </a:t>
            </a:r>
            <a:r>
              <a:rPr lang="fi-FI" sz="1400" dirty="0" smtClean="0"/>
              <a:t>teknologia-alueisiin radio- </a:t>
            </a:r>
            <a:r>
              <a:rPr lang="fi-FI" sz="1400" dirty="0"/>
              <a:t>ja tietoliikenteen </a:t>
            </a:r>
            <a:r>
              <a:rPr lang="fi-FI" sz="1400" dirty="0" smtClean="0"/>
              <a:t>yhteyteen sekä Bioruukki alustana </a:t>
            </a:r>
            <a:endParaRPr lang="fi-FI" sz="1400" dirty="0"/>
          </a:p>
          <a:p>
            <a:r>
              <a:rPr lang="fi-FI" sz="1800" dirty="0" smtClean="0"/>
              <a:t>TP45: ilmastoratkaisut -&gt; laajentaminen koko teollisuuteen (ei vain ICT), systeemiset ratkaisut, standardointi mittaamisessa, konesalien houkuttelu ilmastonäkökulmasta, teollisuuden vähähiilitiekartat</a:t>
            </a:r>
          </a:p>
          <a:p>
            <a:r>
              <a:rPr lang="fi-FI" sz="1800" dirty="0" smtClean="0"/>
              <a:t>TP46: huoltovarmuus -&gt; tärkeä, muutamia täsmennyksiä</a:t>
            </a:r>
            <a:endParaRPr lang="fi-FI" sz="1800" dirty="0"/>
          </a:p>
          <a:p>
            <a:endParaRPr lang="fi-FI" sz="1800" dirty="0" smtClean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132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26</a:t>
            </a:fld>
            <a:endParaRPr lang="fi-FI" dirty="0"/>
          </a:p>
        </p:txBody>
      </p:sp>
      <p:pic>
        <p:nvPicPr>
          <p:cNvPr id="3" name="Kuva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7807" y="2357288"/>
            <a:ext cx="11536385" cy="2143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288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51998" y="599353"/>
            <a:ext cx="10571480" cy="649953"/>
          </a:xfrm>
        </p:spPr>
        <p:txBody>
          <a:bodyPr/>
          <a:lstStyle/>
          <a:p>
            <a:r>
              <a:rPr lang="fi-FI" dirty="0" smtClean="0"/>
              <a:t>Johtopäätökset tilannekuvasta </a:t>
            </a:r>
            <a:r>
              <a:rPr lang="fi-FI" b="0" dirty="0" smtClean="0"/>
              <a:t>(alustava, tarkemmin raportti luku 4.5)</a:t>
            </a:r>
            <a:r>
              <a:rPr lang="fi-FI" dirty="0" smtClean="0"/>
              <a:t/>
            </a:r>
            <a:br>
              <a:rPr lang="fi-FI" dirty="0" smtClean="0"/>
            </a:b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781200" y="1775661"/>
            <a:ext cx="5156538" cy="4248000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fi-FI" dirty="0"/>
              <a:t>Poikkihallinnollinen jatkuva teknologiapolitiikka ja sen tehokas täytäntöönpano. </a:t>
            </a:r>
            <a:endParaRPr lang="fi-FI" dirty="0" smtClean="0"/>
          </a:p>
          <a:p>
            <a:pPr marL="457200" indent="-457200">
              <a:buFont typeface="+mj-lt"/>
              <a:buAutoNum type="arabicPeriod"/>
            </a:pPr>
            <a:r>
              <a:rPr lang="fi-FI" dirty="0"/>
              <a:t>Teknologianeutraaliuden pääperiaate ja panokset kannustettaviin teknologia-alueisiin. </a:t>
            </a:r>
            <a:endParaRPr lang="fi-FI" dirty="0" smtClean="0"/>
          </a:p>
          <a:p>
            <a:pPr marL="457200" indent="-457200">
              <a:buFont typeface="+mj-lt"/>
              <a:buAutoNum type="arabicPeriod"/>
            </a:pPr>
            <a:r>
              <a:rPr lang="fi-FI" dirty="0" smtClean="0"/>
              <a:t>Tuotekehitysinvestointeihin </a:t>
            </a:r>
            <a:r>
              <a:rPr lang="fi-FI" dirty="0"/>
              <a:t>merkittävästi enemmän varoja. </a:t>
            </a:r>
            <a:r>
              <a:rPr lang="fi-FI" sz="1600" dirty="0" smtClean="0"/>
              <a:t>(</a:t>
            </a:r>
            <a:r>
              <a:rPr lang="fi-FI" sz="1600" dirty="0"/>
              <a:t>Ennen kaikkea yritysten TKI-investointien </a:t>
            </a:r>
            <a:r>
              <a:rPr lang="fi-FI" sz="1600" dirty="0" err="1"/>
              <a:t>vivuttaminen</a:t>
            </a:r>
            <a:r>
              <a:rPr lang="fi-FI" sz="1600" dirty="0"/>
              <a:t> julkisen tuen avulla ja tutkimuksen kaupallistaminen </a:t>
            </a:r>
            <a:r>
              <a:rPr lang="fi-FI" sz="1600" dirty="0" smtClean="0"/>
              <a:t>keskeisiä.) 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/>
              <a:t>Innovaatioympäristön ja -ekosysteemien vahvistaminen</a:t>
            </a:r>
            <a:r>
              <a:rPr lang="fi-FI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 smtClean="0"/>
              <a:t>Osaajat</a:t>
            </a:r>
            <a:r>
              <a:rPr lang="fi-FI" dirty="0"/>
              <a:t>. </a:t>
            </a:r>
            <a:r>
              <a:rPr lang="fi-FI" sz="1600" dirty="0" smtClean="0"/>
              <a:t>(Maahanmuutto </a:t>
            </a:r>
            <a:r>
              <a:rPr lang="fi-FI" sz="1600" dirty="0"/>
              <a:t>ja koulutus.)</a:t>
            </a:r>
          </a:p>
          <a:p>
            <a:pPr marL="0" indent="0">
              <a:buNone/>
            </a:pPr>
            <a:endParaRPr lang="fi-FI" dirty="0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85388" y="1815622"/>
            <a:ext cx="5187462" cy="4248000"/>
          </a:xfrm>
        </p:spPr>
        <p:txBody>
          <a:bodyPr/>
          <a:lstStyle/>
          <a:p>
            <a:pPr marL="457200" indent="-457200">
              <a:buFont typeface="+mj-lt"/>
              <a:buAutoNum type="arabicPeriod" startAt="6"/>
            </a:pPr>
            <a:r>
              <a:rPr lang="fi-FI" dirty="0" smtClean="0"/>
              <a:t>Julkisen </a:t>
            </a:r>
            <a:r>
              <a:rPr lang="fi-FI" dirty="0"/>
              <a:t>hallinnon ja palvelutuotannon automatisointi ja integrointi yli hallinnonalojen kansalaisten ja yritysten hyödyksi</a:t>
            </a:r>
            <a:r>
              <a:rPr lang="fi-FI" dirty="0" smtClean="0"/>
              <a:t>.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fi-FI" dirty="0"/>
              <a:t>Mahdollistava julkishallinto ja lainsäädäntö. </a:t>
            </a:r>
            <a:endParaRPr lang="fi-FI" dirty="0" smtClean="0"/>
          </a:p>
          <a:p>
            <a:pPr marL="457200" indent="-457200">
              <a:buFont typeface="+mj-lt"/>
              <a:buAutoNum type="arabicPeriod" startAt="6"/>
            </a:pPr>
            <a:r>
              <a:rPr lang="fi-FI" dirty="0"/>
              <a:t>Yrittäjyys ja teknologiayritysten pysyminen suomalaisina.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fi-FI" dirty="0" smtClean="0"/>
              <a:t>Digitaalisen </a:t>
            </a:r>
            <a:r>
              <a:rPr lang="fi-FI" dirty="0"/>
              <a:t>pehmeän infrastruktuurin vahvistaminen. </a:t>
            </a:r>
            <a:endParaRPr lang="fi-FI" dirty="0" smtClean="0"/>
          </a:p>
          <a:p>
            <a:pPr marL="457200" indent="-457200">
              <a:buFont typeface="+mj-lt"/>
              <a:buAutoNum type="arabicPeriod" startAt="6"/>
            </a:pPr>
            <a:r>
              <a:rPr lang="fi-FI" dirty="0"/>
              <a:t>Yhteistyö yli rajojen kansallisesti ja kansainvälisesti. 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kstiruutu 5"/>
          <p:cNvSpPr txBox="1"/>
          <p:nvPr/>
        </p:nvSpPr>
        <p:spPr>
          <a:xfrm>
            <a:off x="650878" y="1255464"/>
            <a:ext cx="105726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ka kärkimaaksi edellyttää pikaisia toimia poikkihallinnollisesti</a:t>
            </a: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fi-FI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298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81200" y="162274"/>
            <a:ext cx="10571480" cy="1014186"/>
          </a:xfrm>
        </p:spPr>
        <p:txBody>
          <a:bodyPr/>
          <a:lstStyle/>
          <a:p>
            <a:r>
              <a:rPr lang="fi-FI" dirty="0" smtClean="0"/>
              <a:t>Työstö viimeisen viikon aikana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81200" y="1273211"/>
            <a:ext cx="10217374" cy="4085531"/>
          </a:xfrm>
        </p:spPr>
        <p:txBody>
          <a:bodyPr/>
          <a:lstStyle/>
          <a:p>
            <a:r>
              <a:rPr lang="fi-FI" sz="2000" dirty="0" smtClean="0"/>
              <a:t>Yleisiä huomioita pyritty huomioimaan tekstissä, täydennetään vielä</a:t>
            </a:r>
          </a:p>
          <a:p>
            <a:r>
              <a:rPr lang="fi-FI" sz="2000" dirty="0" smtClean="0"/>
              <a:t>Raportin nimi: Asettamispäätöksessä ”Suomen teknologiapolitiikka 2020-luvulla – Teknologian </a:t>
            </a:r>
            <a:r>
              <a:rPr lang="fi-FI" sz="2000" dirty="0"/>
              <a:t>ja tiedon hyödyntämisen kärkimaa” </a:t>
            </a:r>
            <a:r>
              <a:rPr lang="fi-FI" sz="2000" dirty="0" smtClean="0"/>
              <a:t>-&gt; ”Suomen </a:t>
            </a:r>
            <a:r>
              <a:rPr lang="fi-FI" sz="2000" dirty="0"/>
              <a:t>teknologiapolitiikka 2020-luvulla –</a:t>
            </a:r>
            <a:r>
              <a:rPr lang="fi-FI" sz="2000" dirty="0" smtClean="0"/>
              <a:t> </a:t>
            </a:r>
            <a:r>
              <a:rPr lang="fi-FI" sz="2000" dirty="0"/>
              <a:t>maailman kärkeen teknologian ja tiedon </a:t>
            </a:r>
            <a:r>
              <a:rPr lang="fi-FI" sz="2000" dirty="0" smtClean="0"/>
              <a:t>avulla”?</a:t>
            </a:r>
            <a:endParaRPr lang="fi-FI" sz="2000" dirty="0"/>
          </a:p>
          <a:p>
            <a:r>
              <a:rPr lang="fi-FI" sz="2000" dirty="0" smtClean="0"/>
              <a:t>Tiivistelmä ja tilannekuvan johtopäätökset hyvä kaikkien katsoa </a:t>
            </a:r>
          </a:p>
          <a:p>
            <a:r>
              <a:rPr lang="fi-FI" sz="2000" dirty="0" smtClean="0"/>
              <a:t>Yhteenvetokuvia tulossa</a:t>
            </a:r>
          </a:p>
          <a:p>
            <a:r>
              <a:rPr lang="fi-FI" sz="2000" dirty="0" smtClean="0"/>
              <a:t>Toimenpiteet:</a:t>
            </a:r>
          </a:p>
          <a:p>
            <a:pPr lvl="1"/>
            <a:r>
              <a:rPr lang="fi-FI" sz="2000" dirty="0" smtClean="0"/>
              <a:t>Tärkeimmät </a:t>
            </a:r>
            <a:r>
              <a:rPr lang="fi-FI" sz="2000" dirty="0"/>
              <a:t>kommentit, liittyvät hankkeet jne. kerätty </a:t>
            </a:r>
            <a:r>
              <a:rPr lang="fi-FI" sz="2000" dirty="0" err="1"/>
              <a:t>exceliin</a:t>
            </a:r>
            <a:r>
              <a:rPr lang="fi-FI" sz="2000" dirty="0"/>
              <a:t>, työstetään näitä -&gt; tarkoitus </a:t>
            </a:r>
            <a:r>
              <a:rPr lang="fi-FI" sz="2000" dirty="0" smtClean="0"/>
              <a:t>julkaista </a:t>
            </a:r>
            <a:r>
              <a:rPr lang="fi-FI" sz="2000" dirty="0"/>
              <a:t>taulukko, jossa tunnistettu vireillä olevat asiat, aikajänne, </a:t>
            </a:r>
            <a:r>
              <a:rPr lang="fi-FI" sz="2000" dirty="0" smtClean="0"/>
              <a:t>toimeenpanon vastuutaho</a:t>
            </a:r>
            <a:r>
              <a:rPr lang="fi-FI" sz="2000" dirty="0"/>
              <a:t>, </a:t>
            </a:r>
            <a:r>
              <a:rPr lang="fi-FI" sz="2000" dirty="0" smtClean="0"/>
              <a:t>vaikuttavuus/hyödyt</a:t>
            </a:r>
            <a:endParaRPr lang="fi-FI" sz="2000" dirty="0"/>
          </a:p>
          <a:p>
            <a:pPr lvl="1"/>
            <a:r>
              <a:rPr lang="fi-FI" sz="2000" dirty="0"/>
              <a:t>Konkretisoidaan ja tehdään jaottelua sen mukaan, mitkä pystyy purkamaan seurattaviin ja mitkä edistettäviä, mutta ei erikseen </a:t>
            </a:r>
            <a:r>
              <a:rPr lang="fi-FI" sz="2000" dirty="0" smtClean="0"/>
              <a:t>seurattavia</a:t>
            </a:r>
          </a:p>
          <a:p>
            <a:pPr lvl="1"/>
            <a:r>
              <a:rPr lang="fi-FI" sz="2000" dirty="0" smtClean="0"/>
              <a:t>Muutamien toimien jakamista, uusien lisäämistä, kokonaismäärä pysyy </a:t>
            </a:r>
            <a:r>
              <a:rPr lang="fi-FI" sz="2000" dirty="0" err="1" smtClean="0"/>
              <a:t>max</a:t>
            </a:r>
            <a:r>
              <a:rPr lang="fi-FI" sz="2000" dirty="0" smtClean="0"/>
              <a:t> 50</a:t>
            </a:r>
            <a:endParaRPr lang="fi-FI" sz="2000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5649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4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F474BD3C-A8F3-4404-8FA0-8CC583483BB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fi-FI" dirty="0" smtClean="0"/>
              <a:t>3. Seurantamalli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18203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 smtClean="0"/>
              <a:t>2. Lausuntokierroksen palaute ja raportin lopputyöstö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88437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1C10AA4-2034-46F2-87EB-9EC4629484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20" y="203636"/>
            <a:ext cx="11710936" cy="1325563"/>
          </a:xfrm>
        </p:spPr>
        <p:txBody>
          <a:bodyPr/>
          <a:lstStyle/>
          <a:p>
            <a:r>
              <a:rPr lang="fi-FI" dirty="0" smtClean="0"/>
              <a:t>Neuvottelukunnan rooli seurannassa ja teknologiapolitiikan tukemisessa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40A9A77C-2B28-4901-8DB0-D67193E27C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181053"/>
            <a:ext cx="10870964" cy="5242861"/>
          </a:xfrm>
        </p:spPr>
        <p:txBody>
          <a:bodyPr/>
          <a:lstStyle/>
          <a:p>
            <a:pPr marL="0" indent="0">
              <a:buNone/>
            </a:pPr>
            <a:endParaRPr lang="fi-FI" sz="2000" dirty="0" smtClean="0"/>
          </a:p>
          <a:p>
            <a:r>
              <a:rPr lang="fi-FI" sz="2000" dirty="0" smtClean="0"/>
              <a:t>Seurantatyökalua sivustolle rakennetaan </a:t>
            </a:r>
            <a:r>
              <a:rPr lang="fi-FI" sz="2000" dirty="0" err="1" smtClean="0"/>
              <a:t>VNK:n</a:t>
            </a:r>
            <a:r>
              <a:rPr lang="fi-FI" sz="2000" dirty="0" smtClean="0"/>
              <a:t> </a:t>
            </a:r>
            <a:r>
              <a:rPr lang="fi-FI" sz="2000" dirty="0" err="1" smtClean="0"/>
              <a:t>excel</a:t>
            </a:r>
            <a:r>
              <a:rPr lang="fi-FI" sz="2000" dirty="0" smtClean="0"/>
              <a:t> lukija -työkalun avulla, koordinointi ja kehittäminen </a:t>
            </a:r>
            <a:r>
              <a:rPr lang="fi-FI" sz="2000" dirty="0" err="1" smtClean="0"/>
              <a:t>VNK:n</a:t>
            </a:r>
            <a:r>
              <a:rPr lang="fi-FI" sz="2000" dirty="0" smtClean="0"/>
              <a:t> kanssa</a:t>
            </a:r>
          </a:p>
          <a:p>
            <a:r>
              <a:rPr lang="fi-FI" sz="2000" dirty="0" smtClean="0"/>
              <a:t>Valtioneuvoston periaatepäätös toimeenpanoa tukemaan</a:t>
            </a:r>
          </a:p>
          <a:p>
            <a:r>
              <a:rPr lang="fi-FI" sz="2000" dirty="0" smtClean="0"/>
              <a:t>Neuvottelukunnan rooli loppukaudella</a:t>
            </a:r>
          </a:p>
          <a:p>
            <a:pPr lvl="1">
              <a:buFont typeface="+mj-lt"/>
              <a:buAutoNum type="arabicPeriod"/>
            </a:pPr>
            <a:r>
              <a:rPr lang="fi-FI" sz="1600" dirty="0" smtClean="0"/>
              <a:t>Toimeenpanon seuranta ja tukeminen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fi-FI" sz="1300" dirty="0" smtClean="0"/>
              <a:t>Keskittyminen pullonkaulojen ratkomiseen ja vaikuttavimpien toimien eteenpäin vientiin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fi-FI" sz="1300" dirty="0" smtClean="0"/>
              <a:t>Neuvottelukunnan kokoontuminen ja seuranta: kokoukset 2 kertaa vuodessa kevät- ja syyskaudella, muutama viikko seurannan päivittämisen jälkeen, välikatsaukset kirjallisesti (tarinapisteiden päivitys kvartaaleittain)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fi-FI" sz="1300" dirty="0" smtClean="0"/>
              <a:t>Ministeriökohtaiset keskustelut vuosittain</a:t>
            </a:r>
          </a:p>
          <a:p>
            <a:pPr lvl="3">
              <a:buFont typeface="Arial" panose="020B0604020202020204" pitchFamily="34" charset="0"/>
              <a:buChar char="•"/>
            </a:pPr>
            <a:r>
              <a:rPr lang="fi-FI" sz="1300" dirty="0" smtClean="0"/>
              <a:t>Kaikkien vastuuministerien yhteinen tapaaminen vuosittain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fi-FI" sz="1300" dirty="0" smtClean="0"/>
          </a:p>
          <a:p>
            <a:pPr lvl="2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300" dirty="0" smtClean="0"/>
              <a:t>Ehdotukset toimenpiteiden päivitykseen tarvittaessa 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300" dirty="0" smtClean="0"/>
              <a:t>Tiiviimmin kokoontuva nyrkki asioiden etenemistä varmistamaan, ilmoittautumiset Lauralle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300" dirty="0" smtClean="0"/>
              <a:t>Sihteeristöllä seuranta kaikista, tuki ja osallistuminen eri hankkeisiin / ryhmiin, etenemistä tukeva viestintä</a:t>
            </a:r>
          </a:p>
          <a:p>
            <a:pPr lvl="1">
              <a:spcAft>
                <a:spcPts val="1200"/>
              </a:spcAft>
              <a:buFont typeface="+mj-lt"/>
              <a:buAutoNum type="arabicPeriod"/>
            </a:pPr>
            <a:r>
              <a:rPr lang="fi-FI" sz="1600" dirty="0" err="1" smtClean="0"/>
              <a:t>Sounding</a:t>
            </a:r>
            <a:r>
              <a:rPr lang="fi-FI" sz="1600" dirty="0" smtClean="0"/>
              <a:t> </a:t>
            </a:r>
            <a:r>
              <a:rPr lang="fi-FI" sz="1600" dirty="0" err="1" smtClean="0"/>
              <a:t>board</a:t>
            </a:r>
            <a:r>
              <a:rPr lang="fi-FI" sz="1600" dirty="0" smtClean="0"/>
              <a:t> ja oma-aloitekommentointi teknologianäkökulmille eri aloitteissa ja hankkeissa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300" dirty="0" smtClean="0"/>
              <a:t>Lainsäädäntö- ja politiikka-aloitteet, ml. </a:t>
            </a:r>
            <a:r>
              <a:rPr lang="fi-FI" sz="1300" dirty="0" err="1"/>
              <a:t>k</a:t>
            </a:r>
            <a:r>
              <a:rPr lang="fi-FI" sz="1300" dirty="0" err="1" smtClean="0"/>
              <a:t>v</a:t>
            </a:r>
            <a:r>
              <a:rPr lang="fi-FI" sz="1300" dirty="0" smtClean="0"/>
              <a:t>- ja EU-asiat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300" dirty="0" smtClean="0"/>
              <a:t>Rahoituksen suuntaaminen 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300" dirty="0" smtClean="0"/>
              <a:t>Kehysvalmistelu, hallitusohjelma</a:t>
            </a:r>
          </a:p>
          <a:p>
            <a:pPr lvl="2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1300" dirty="0" smtClean="0"/>
              <a:t>Sihteeristö koordinoi, hyödynnetään nyrkkiä ja kirjallista menettelyä</a:t>
            </a:r>
            <a:endParaRPr lang="fi-FI" sz="1300" dirty="0"/>
          </a:p>
          <a:p>
            <a:pPr marL="0" indent="0">
              <a:buNone/>
            </a:pPr>
            <a:endParaRPr lang="fi-FI" sz="2000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513F693-E88C-481A-99F5-428148D85CC5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rtl="0">
              <a:defRPr lang="fi-fi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B54682-13CF-4CDE-87BB-42FE8C61454C}" type="datetime1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.5.202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8556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Pentagon 38">
            <a:extLst>
              <a:ext uri="{FF2B5EF4-FFF2-40B4-BE49-F238E27FC236}">
                <a16:creationId xmlns:a16="http://schemas.microsoft.com/office/drawing/2014/main" id="{89D71392-EA08-DA46-AA51-BF7B0C5CC0C3}"/>
              </a:ext>
            </a:extLst>
          </p:cNvPr>
          <p:cNvSpPr/>
          <p:nvPr/>
        </p:nvSpPr>
        <p:spPr>
          <a:xfrm rot="16200000">
            <a:off x="9908878" y="2091187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2" name="Pentagon 27">
            <a:extLst>
              <a:ext uri="{FF2B5EF4-FFF2-40B4-BE49-F238E27FC236}">
                <a16:creationId xmlns:a16="http://schemas.microsoft.com/office/drawing/2014/main" id="{C3182408-C052-2548-BE94-C9399CDE38DE}"/>
              </a:ext>
            </a:extLst>
          </p:cNvPr>
          <p:cNvSpPr/>
          <p:nvPr/>
        </p:nvSpPr>
        <p:spPr>
          <a:xfrm rot="5400000">
            <a:off x="10907764" y="2746915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1E20CE9-1D51-054B-B6E7-126D5A984775}"/>
              </a:ext>
            </a:extLst>
          </p:cNvPr>
          <p:cNvSpPr/>
          <p:nvPr/>
        </p:nvSpPr>
        <p:spPr>
          <a:xfrm>
            <a:off x="299324" y="867973"/>
            <a:ext cx="11643875" cy="5121648"/>
          </a:xfrm>
          <a:prstGeom prst="rect">
            <a:avLst/>
          </a:prstGeom>
          <a:solidFill>
            <a:srgbClr val="5AB5EC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r>
              <a:rPr lang="fi-FI" sz="2400" smtClean="0">
                <a:solidFill>
                  <a:srgbClr val="FFFFFF"/>
                </a:solidFill>
                <a:latin typeface="Arial"/>
              </a:rPr>
              <a:t> </a:t>
            </a:r>
            <a:endParaRPr lang="fi-FI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" name="Pentagon 27">
            <a:extLst>
              <a:ext uri="{FF2B5EF4-FFF2-40B4-BE49-F238E27FC236}">
                <a16:creationId xmlns:a16="http://schemas.microsoft.com/office/drawing/2014/main" id="{C3182408-C052-2548-BE94-C9399CDE38DE}"/>
              </a:ext>
            </a:extLst>
          </p:cNvPr>
          <p:cNvSpPr/>
          <p:nvPr/>
        </p:nvSpPr>
        <p:spPr>
          <a:xfrm rot="5400000">
            <a:off x="9091664" y="2670715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Pentagon 38">
            <a:extLst>
              <a:ext uri="{FF2B5EF4-FFF2-40B4-BE49-F238E27FC236}">
                <a16:creationId xmlns:a16="http://schemas.microsoft.com/office/drawing/2014/main" id="{89D71392-EA08-DA46-AA51-BF7B0C5CC0C3}"/>
              </a:ext>
            </a:extLst>
          </p:cNvPr>
          <p:cNvSpPr/>
          <p:nvPr/>
        </p:nvSpPr>
        <p:spPr>
          <a:xfrm rot="16200000">
            <a:off x="8181678" y="2116587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Pentagon 27">
            <a:extLst>
              <a:ext uri="{FF2B5EF4-FFF2-40B4-BE49-F238E27FC236}">
                <a16:creationId xmlns:a16="http://schemas.microsoft.com/office/drawing/2014/main" id="{C3182408-C052-2548-BE94-C9399CDE38DE}"/>
              </a:ext>
            </a:extLst>
          </p:cNvPr>
          <p:cNvSpPr/>
          <p:nvPr/>
        </p:nvSpPr>
        <p:spPr>
          <a:xfrm rot="5400000">
            <a:off x="7133854" y="2664498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Pentagon 23">
            <a:extLst>
              <a:ext uri="{FF2B5EF4-FFF2-40B4-BE49-F238E27FC236}">
                <a16:creationId xmlns:a16="http://schemas.microsoft.com/office/drawing/2014/main" id="{01CF2235-E960-A848-9298-CE767533C884}"/>
              </a:ext>
            </a:extLst>
          </p:cNvPr>
          <p:cNvSpPr/>
          <p:nvPr/>
        </p:nvSpPr>
        <p:spPr>
          <a:xfrm rot="5400000">
            <a:off x="1080340" y="2664498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Pentagon 20">
            <a:extLst>
              <a:ext uri="{FF2B5EF4-FFF2-40B4-BE49-F238E27FC236}">
                <a16:creationId xmlns:a16="http://schemas.microsoft.com/office/drawing/2014/main" id="{60AF962A-8ACB-A84A-B79B-3B677AF37241}"/>
              </a:ext>
            </a:extLst>
          </p:cNvPr>
          <p:cNvSpPr/>
          <p:nvPr/>
        </p:nvSpPr>
        <p:spPr>
          <a:xfrm rot="16200000">
            <a:off x="1998998" y="2111489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Pentagon 31">
            <a:extLst>
              <a:ext uri="{FF2B5EF4-FFF2-40B4-BE49-F238E27FC236}">
                <a16:creationId xmlns:a16="http://schemas.microsoft.com/office/drawing/2014/main" id="{84081BC9-D0F8-3249-9D43-5F612697D74C}"/>
              </a:ext>
            </a:extLst>
          </p:cNvPr>
          <p:cNvSpPr/>
          <p:nvPr/>
        </p:nvSpPr>
        <p:spPr>
          <a:xfrm rot="5400000">
            <a:off x="2931804" y="2666405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Pentagon 32">
            <a:extLst>
              <a:ext uri="{FF2B5EF4-FFF2-40B4-BE49-F238E27FC236}">
                <a16:creationId xmlns:a16="http://schemas.microsoft.com/office/drawing/2014/main" id="{5A354677-7C64-B342-BFCA-FA4D86470351}"/>
              </a:ext>
            </a:extLst>
          </p:cNvPr>
          <p:cNvSpPr/>
          <p:nvPr/>
        </p:nvSpPr>
        <p:spPr>
          <a:xfrm rot="16200000">
            <a:off x="4042650" y="2111491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Pentagon 37">
            <a:extLst>
              <a:ext uri="{FF2B5EF4-FFF2-40B4-BE49-F238E27FC236}">
                <a16:creationId xmlns:a16="http://schemas.microsoft.com/office/drawing/2014/main" id="{42D8757B-704C-3448-991D-9B79FE295104}"/>
              </a:ext>
            </a:extLst>
          </p:cNvPr>
          <p:cNvSpPr/>
          <p:nvPr/>
        </p:nvSpPr>
        <p:spPr>
          <a:xfrm rot="5400000">
            <a:off x="5010718" y="2676790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Pentagon 38">
            <a:extLst>
              <a:ext uri="{FF2B5EF4-FFF2-40B4-BE49-F238E27FC236}">
                <a16:creationId xmlns:a16="http://schemas.microsoft.com/office/drawing/2014/main" id="{89D71392-EA08-DA46-AA51-BF7B0C5CC0C3}"/>
              </a:ext>
            </a:extLst>
          </p:cNvPr>
          <p:cNvSpPr/>
          <p:nvPr/>
        </p:nvSpPr>
        <p:spPr>
          <a:xfrm rot="16200000">
            <a:off x="6050240" y="2084597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entagon 6">
            <a:extLst>
              <a:ext uri="{FF2B5EF4-FFF2-40B4-BE49-F238E27FC236}">
                <a16:creationId xmlns:a16="http://schemas.microsoft.com/office/drawing/2014/main" id="{7DB73A5B-CF35-614E-81E3-70F1A60232B1}"/>
              </a:ext>
            </a:extLst>
          </p:cNvPr>
          <p:cNvSpPr/>
          <p:nvPr/>
        </p:nvSpPr>
        <p:spPr>
          <a:xfrm>
            <a:off x="665373" y="2302159"/>
            <a:ext cx="11158327" cy="467912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1C05FC-FB9D-E44C-B3E6-97823649EBE8}"/>
              </a:ext>
            </a:extLst>
          </p:cNvPr>
          <p:cNvSpPr/>
          <p:nvPr/>
        </p:nvSpPr>
        <p:spPr>
          <a:xfrm>
            <a:off x="703936" y="2333958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/2021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9025763-E33F-4240-A005-A5C3CCFFAE04}"/>
              </a:ext>
            </a:extLst>
          </p:cNvPr>
          <p:cNvSpPr/>
          <p:nvPr/>
        </p:nvSpPr>
        <p:spPr>
          <a:xfrm>
            <a:off x="1625677" y="2326740"/>
            <a:ext cx="124325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2021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BE7207A-E90C-ED42-AD53-6137239CD384}"/>
              </a:ext>
            </a:extLst>
          </p:cNvPr>
          <p:cNvSpPr/>
          <p:nvPr/>
        </p:nvSpPr>
        <p:spPr>
          <a:xfrm>
            <a:off x="2550632" y="2339671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2021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AF5429A-8179-334C-AF28-2E41C9D3F7DF}"/>
              </a:ext>
            </a:extLst>
          </p:cNvPr>
          <p:cNvSpPr/>
          <p:nvPr/>
        </p:nvSpPr>
        <p:spPr>
          <a:xfrm>
            <a:off x="3634320" y="2349319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2022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338208B-5FBF-8C4F-9C6A-DDEDA729A688}"/>
              </a:ext>
            </a:extLst>
          </p:cNvPr>
          <p:cNvSpPr/>
          <p:nvPr/>
        </p:nvSpPr>
        <p:spPr>
          <a:xfrm>
            <a:off x="4605042" y="2349318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/2022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B5A5584-09B8-794E-9BCC-C32BFE1E1066}"/>
              </a:ext>
            </a:extLst>
          </p:cNvPr>
          <p:cNvSpPr/>
          <p:nvPr/>
        </p:nvSpPr>
        <p:spPr>
          <a:xfrm>
            <a:off x="5642424" y="2345081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/2022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870C5C5-0749-AD4B-8E08-1326EC216BCA}"/>
              </a:ext>
            </a:extLst>
          </p:cNvPr>
          <p:cNvSpPr/>
          <p:nvPr/>
        </p:nvSpPr>
        <p:spPr>
          <a:xfrm>
            <a:off x="8769524" y="2328403"/>
            <a:ext cx="10520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/2023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7F8116C0-96B2-4642-830D-ADC258C52388}"/>
              </a:ext>
            </a:extLst>
          </p:cNvPr>
          <p:cNvSpPr txBox="1">
            <a:spLocks/>
          </p:cNvSpPr>
          <p:nvPr/>
        </p:nvSpPr>
        <p:spPr>
          <a:xfrm>
            <a:off x="9308995" y="2540127"/>
            <a:ext cx="2124444" cy="58603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268288" indent="-26828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719138" indent="-26193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987425" indent="-182563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168400" indent="-18097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343025" indent="-17462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1219170">
              <a:spcBef>
                <a:spcPts val="400"/>
              </a:spcBef>
              <a:buClr>
                <a:srgbClr val="365ABD"/>
              </a:buClr>
              <a:buNone/>
            </a:pPr>
            <a:endParaRPr lang="fi-FI" sz="1467" dirty="0">
              <a:solidFill>
                <a:srgbClr val="000000"/>
              </a:solidFill>
            </a:endParaRP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7F8116C0-96B2-4642-830D-ADC258C52388}"/>
              </a:ext>
            </a:extLst>
          </p:cNvPr>
          <p:cNvSpPr txBox="1">
            <a:spLocks/>
          </p:cNvSpPr>
          <p:nvPr/>
        </p:nvSpPr>
        <p:spPr>
          <a:xfrm>
            <a:off x="4726125" y="2233027"/>
            <a:ext cx="2064208" cy="1106652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268288" indent="-26828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719138" indent="-26193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987425" indent="-182563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168400" indent="-18097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343025" indent="-17462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1219170">
              <a:spcBef>
                <a:spcPts val="400"/>
              </a:spcBef>
              <a:buClr>
                <a:srgbClr val="365ABD"/>
              </a:buClr>
              <a:buNone/>
            </a:pPr>
            <a:endParaRPr lang="fi-FI" sz="1467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29" name="Rectangle 40">
            <a:extLst>
              <a:ext uri="{FF2B5EF4-FFF2-40B4-BE49-F238E27FC236}">
                <a16:creationId xmlns:a16="http://schemas.microsoft.com/office/drawing/2014/main" id="{CB5A5584-09B8-794E-9BCC-C32BFE1E1066}"/>
              </a:ext>
            </a:extLst>
          </p:cNvPr>
          <p:cNvSpPr/>
          <p:nvPr/>
        </p:nvSpPr>
        <p:spPr>
          <a:xfrm>
            <a:off x="6795893" y="2339671"/>
            <a:ext cx="10505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2022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40">
            <a:extLst>
              <a:ext uri="{FF2B5EF4-FFF2-40B4-BE49-F238E27FC236}">
                <a16:creationId xmlns:a16="http://schemas.microsoft.com/office/drawing/2014/main" id="{CB5A5584-09B8-794E-9BCC-C32BFE1E1066}"/>
              </a:ext>
            </a:extLst>
          </p:cNvPr>
          <p:cNvSpPr/>
          <p:nvPr/>
        </p:nvSpPr>
        <p:spPr>
          <a:xfrm>
            <a:off x="7853174" y="2345935"/>
            <a:ext cx="11056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/2023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774E7C20-BCB0-1344-B230-3B41ED262480}"/>
              </a:ext>
            </a:extLst>
          </p:cNvPr>
          <p:cNvSpPr txBox="1">
            <a:spLocks/>
          </p:cNvSpPr>
          <p:nvPr/>
        </p:nvSpPr>
        <p:spPr>
          <a:xfrm>
            <a:off x="9807249" y="4934271"/>
            <a:ext cx="1914263" cy="115672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268288" indent="-26828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719138" indent="-26193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987425" indent="-182563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168400" indent="-18097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343025" indent="-17462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7708" indent="-357708" defTabSz="1219170">
              <a:spcBef>
                <a:spcPts val="400"/>
              </a:spcBef>
              <a:buClr>
                <a:srgbClr val="365ABD"/>
              </a:buClr>
            </a:pPr>
            <a:endParaRPr lang="fi-FI" sz="1467" b="1" dirty="0">
              <a:solidFill>
                <a:srgbClr val="000000"/>
              </a:solidFill>
            </a:endParaRPr>
          </a:p>
          <a:p>
            <a:pPr marL="357708" indent="-357708" defTabSz="1219170">
              <a:spcBef>
                <a:spcPts val="400"/>
              </a:spcBef>
              <a:buClr>
                <a:srgbClr val="365ABD"/>
              </a:buClr>
            </a:pPr>
            <a:endParaRPr lang="fi-FI" sz="1467" b="1" dirty="0">
              <a:solidFill>
                <a:srgbClr val="000000"/>
              </a:solidFill>
            </a:endParaRPr>
          </a:p>
          <a:p>
            <a:pPr marL="143996" indent="-143996" defTabSz="1219170">
              <a:spcBef>
                <a:spcPts val="400"/>
              </a:spcBef>
              <a:buClr>
                <a:srgbClr val="365ABD"/>
              </a:buClr>
            </a:pPr>
            <a:endParaRPr lang="fi-FI" sz="1467" b="1" dirty="0">
              <a:solidFill>
                <a:srgbClr val="000000"/>
              </a:solidFill>
            </a:endParaRPr>
          </a:p>
        </p:txBody>
      </p:sp>
      <p:grpSp>
        <p:nvGrpSpPr>
          <p:cNvPr id="52" name="Group 8">
            <a:extLst>
              <a:ext uri="{FF2B5EF4-FFF2-40B4-BE49-F238E27FC236}">
                <a16:creationId xmlns:a16="http://schemas.microsoft.com/office/drawing/2014/main" id="{EC40EE12-767B-0D47-8003-4D90E45C85B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/>
        </p:nvGrpSpPr>
        <p:grpSpPr>
          <a:xfrm>
            <a:off x="258366" y="1840259"/>
            <a:ext cx="7540857" cy="4687135"/>
            <a:chOff x="-4076657" y="1199291"/>
            <a:chExt cx="8512817" cy="4878746"/>
          </a:xfrm>
        </p:grpSpPr>
        <p:sp>
          <p:nvSpPr>
            <p:cNvPr id="54" name="TextBox 17">
              <a:extLst>
                <a:ext uri="{FF2B5EF4-FFF2-40B4-BE49-F238E27FC236}">
                  <a16:creationId xmlns:a16="http://schemas.microsoft.com/office/drawing/2014/main" id="{684B5C1A-4A15-5340-9363-9FA41D40B8E1}"/>
                </a:ext>
              </a:extLst>
            </p:cNvPr>
            <p:cNvSpPr txBox="1"/>
            <p:nvPr/>
          </p:nvSpPr>
          <p:spPr>
            <a:xfrm>
              <a:off x="-4076657" y="1199291"/>
              <a:ext cx="1070920" cy="216000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i-FI" sz="1000" b="1" noProof="0" dirty="0" err="1" smtClean="0">
                  <a:solidFill>
                    <a:prstClr val="white"/>
                  </a:solidFill>
                  <a:latin typeface="Arial Narrow"/>
                </a:rPr>
                <a:t>TeknoNVK</a:t>
              </a:r>
              <a:endParaRPr kumimoji="0" lang="en-FI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55" name="Rectangle 63">
              <a:extLst>
                <a:ext uri="{FF2B5EF4-FFF2-40B4-BE49-F238E27FC236}">
                  <a16:creationId xmlns:a16="http://schemas.microsoft.com/office/drawing/2014/main" id="{199EBD2B-CB70-5140-B00A-CC1570E42F2D}"/>
                </a:ext>
              </a:extLst>
            </p:cNvPr>
            <p:cNvSpPr/>
            <p:nvPr/>
          </p:nvSpPr>
          <p:spPr>
            <a:xfrm>
              <a:off x="-4053173" y="3487690"/>
              <a:ext cx="1210220" cy="378631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i-FI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Ministerityöryhmä / Vastuuministerit</a:t>
              </a:r>
              <a:endParaRPr kumimoji="0" lang="en-FI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8" name="TextBox 80">
              <a:extLst>
                <a:ext uri="{FF2B5EF4-FFF2-40B4-BE49-F238E27FC236}">
                  <a16:creationId xmlns:a16="http://schemas.microsoft.com/office/drawing/2014/main" id="{F172DFE9-D5F0-864E-9A97-A91577327D5B}"/>
                </a:ext>
              </a:extLst>
            </p:cNvPr>
            <p:cNvSpPr txBox="1"/>
            <p:nvPr/>
          </p:nvSpPr>
          <p:spPr>
            <a:xfrm>
              <a:off x="3365240" y="5924149"/>
              <a:ext cx="107092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i-FI" sz="1000" b="1" dirty="0" smtClean="0">
                  <a:solidFill>
                    <a:prstClr val="white"/>
                  </a:solidFill>
                  <a:latin typeface="Arial Narrow"/>
                </a:rPr>
                <a:t>Hallinnonalat</a:t>
              </a:r>
              <a:endParaRPr kumimoji="0" lang="en-FI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sp>
        <p:nvSpPr>
          <p:cNvPr id="42" name="Otsikko 1"/>
          <p:cNvSpPr txBox="1">
            <a:spLocks/>
          </p:cNvSpPr>
          <p:nvPr/>
        </p:nvSpPr>
        <p:spPr>
          <a:xfrm>
            <a:off x="407306" y="458376"/>
            <a:ext cx="10571480" cy="64490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i-FI" dirty="0" smtClean="0"/>
              <a:t>Toimeenpanon ohjaus</a:t>
            </a:r>
            <a:endParaRPr lang="fi-FI" dirty="0"/>
          </a:p>
        </p:txBody>
      </p:sp>
      <p:sp>
        <p:nvSpPr>
          <p:cNvPr id="2" name="Tekstiruutu 1"/>
          <p:cNvSpPr txBox="1"/>
          <p:nvPr/>
        </p:nvSpPr>
        <p:spPr>
          <a:xfrm>
            <a:off x="688232" y="3089149"/>
            <a:ext cx="16478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smtClean="0"/>
              <a:t>Raportin hyväksyminen</a:t>
            </a:r>
          </a:p>
        </p:txBody>
      </p:sp>
      <p:sp>
        <p:nvSpPr>
          <p:cNvPr id="45" name="Tekstiruutu 44"/>
          <p:cNvSpPr txBox="1"/>
          <p:nvPr/>
        </p:nvSpPr>
        <p:spPr>
          <a:xfrm>
            <a:off x="1882262" y="1714682"/>
            <a:ext cx="16478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smtClean="0"/>
              <a:t>Periaatepäätöksestä toimeenpanoon</a:t>
            </a:r>
          </a:p>
        </p:txBody>
      </p:sp>
      <p:sp>
        <p:nvSpPr>
          <p:cNvPr id="51" name="Tekstiruutu 50"/>
          <p:cNvSpPr txBox="1"/>
          <p:nvPr/>
        </p:nvSpPr>
        <p:spPr>
          <a:xfrm>
            <a:off x="2689367" y="3036726"/>
            <a:ext cx="146240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smtClean="0"/>
              <a:t>Toimeenpanon käynnistymisen arviointi</a:t>
            </a:r>
          </a:p>
          <a:p>
            <a:pPr algn="l"/>
            <a:r>
              <a:rPr lang="fi-FI" sz="1000" dirty="0" err="1" smtClean="0"/>
              <a:t>StP</a:t>
            </a:r>
            <a:r>
              <a:rPr lang="fi-FI" sz="1000" dirty="0" smtClean="0"/>
              <a:t> </a:t>
            </a:r>
            <a:r>
              <a:rPr lang="fi-FI" sz="1000" dirty="0" err="1" smtClean="0"/>
              <a:t>check</a:t>
            </a:r>
            <a:r>
              <a:rPr lang="fi-FI" sz="1000" dirty="0" smtClean="0"/>
              <a:t> </a:t>
            </a:r>
            <a:r>
              <a:rPr lang="fi-FI" sz="1000" dirty="0" err="1" smtClean="0"/>
              <a:t>point</a:t>
            </a:r>
            <a:endParaRPr lang="fi-FI" sz="1000" dirty="0" smtClean="0"/>
          </a:p>
        </p:txBody>
      </p:sp>
      <p:sp>
        <p:nvSpPr>
          <p:cNvPr id="63" name="Tekstiruutu 62"/>
          <p:cNvSpPr txBox="1"/>
          <p:nvPr/>
        </p:nvSpPr>
        <p:spPr>
          <a:xfrm>
            <a:off x="4789849" y="3066958"/>
            <a:ext cx="146240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err="1" smtClean="0"/>
              <a:t>StP</a:t>
            </a:r>
            <a:r>
              <a:rPr lang="fi-FI" sz="1000" dirty="0" smtClean="0"/>
              <a:t> </a:t>
            </a:r>
            <a:r>
              <a:rPr lang="fi-FI" sz="1000" dirty="0" err="1" smtClean="0"/>
              <a:t>check</a:t>
            </a:r>
            <a:r>
              <a:rPr lang="fi-FI" sz="1000" dirty="0" smtClean="0"/>
              <a:t> </a:t>
            </a:r>
            <a:r>
              <a:rPr lang="fi-FI" sz="1000" dirty="0" err="1" smtClean="0"/>
              <a:t>point</a:t>
            </a:r>
            <a:endParaRPr lang="fi-FI" sz="1000" dirty="0" smtClean="0"/>
          </a:p>
        </p:txBody>
      </p:sp>
      <p:sp>
        <p:nvSpPr>
          <p:cNvPr id="64" name="Tekstiruutu 63"/>
          <p:cNvSpPr txBox="1"/>
          <p:nvPr/>
        </p:nvSpPr>
        <p:spPr>
          <a:xfrm>
            <a:off x="3681352" y="1597394"/>
            <a:ext cx="146240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err="1" smtClean="0"/>
              <a:t>StP</a:t>
            </a:r>
            <a:r>
              <a:rPr lang="fi-FI" sz="1000" dirty="0" smtClean="0"/>
              <a:t> </a:t>
            </a:r>
            <a:r>
              <a:rPr lang="fi-FI" sz="1000" dirty="0" err="1" smtClean="0"/>
              <a:t>check</a:t>
            </a:r>
            <a:r>
              <a:rPr lang="fi-FI" sz="1000" dirty="0" smtClean="0"/>
              <a:t> </a:t>
            </a:r>
            <a:r>
              <a:rPr lang="fi-FI" sz="1000" dirty="0" err="1" smtClean="0"/>
              <a:t>point</a:t>
            </a:r>
            <a:endParaRPr lang="fi-FI" sz="1000" dirty="0" smtClean="0"/>
          </a:p>
          <a:p>
            <a:pPr algn="l"/>
            <a:r>
              <a:rPr lang="fi-FI" sz="1000" dirty="0" smtClean="0"/>
              <a:t>Toimenpiteiden ohjaus hallituksen viimeiselle vuodelle</a:t>
            </a:r>
          </a:p>
        </p:txBody>
      </p:sp>
      <p:sp>
        <p:nvSpPr>
          <p:cNvPr id="65" name="Tekstiruutu 64"/>
          <p:cNvSpPr txBox="1"/>
          <p:nvPr/>
        </p:nvSpPr>
        <p:spPr>
          <a:xfrm>
            <a:off x="5791898" y="1447324"/>
            <a:ext cx="146240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err="1" smtClean="0"/>
              <a:t>StP</a:t>
            </a:r>
            <a:r>
              <a:rPr lang="fi-FI" sz="1000" dirty="0" smtClean="0"/>
              <a:t> </a:t>
            </a:r>
            <a:r>
              <a:rPr lang="fi-FI" sz="1000" dirty="0" err="1" smtClean="0"/>
              <a:t>check</a:t>
            </a:r>
            <a:r>
              <a:rPr lang="fi-FI" sz="1000" dirty="0" smtClean="0"/>
              <a:t> </a:t>
            </a:r>
            <a:r>
              <a:rPr lang="fi-FI" sz="1000" dirty="0" err="1" smtClean="0"/>
              <a:t>point</a:t>
            </a:r>
            <a:endParaRPr lang="fi-FI" sz="1000" dirty="0" smtClean="0"/>
          </a:p>
          <a:p>
            <a:pPr algn="l"/>
            <a:r>
              <a:rPr lang="fi-FI" sz="1000" dirty="0" smtClean="0"/>
              <a:t>Nostot valtioneuvoston tulevaisuuskatsauksia varten</a:t>
            </a:r>
          </a:p>
        </p:txBody>
      </p:sp>
      <p:sp>
        <p:nvSpPr>
          <p:cNvPr id="66" name="Tekstiruutu 65"/>
          <p:cNvSpPr txBox="1"/>
          <p:nvPr/>
        </p:nvSpPr>
        <p:spPr>
          <a:xfrm>
            <a:off x="6962670" y="3036590"/>
            <a:ext cx="146240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err="1" smtClean="0"/>
              <a:t>StP</a:t>
            </a:r>
            <a:r>
              <a:rPr lang="fi-FI" sz="1000" dirty="0" smtClean="0"/>
              <a:t> </a:t>
            </a:r>
            <a:r>
              <a:rPr lang="fi-FI" sz="1000" dirty="0" err="1" smtClean="0"/>
              <a:t>check</a:t>
            </a:r>
            <a:r>
              <a:rPr lang="fi-FI" sz="1000" dirty="0" smtClean="0"/>
              <a:t> </a:t>
            </a:r>
            <a:r>
              <a:rPr lang="fi-FI" sz="1000" dirty="0" err="1" smtClean="0"/>
              <a:t>point</a:t>
            </a:r>
            <a:endParaRPr lang="fi-FI" sz="1000" dirty="0" smtClean="0"/>
          </a:p>
          <a:p>
            <a:pPr algn="l"/>
            <a:r>
              <a:rPr lang="fi-FI" sz="1000" dirty="0" smtClean="0"/>
              <a:t>Syötteet hallitusohjelmakeskusteluihin</a:t>
            </a:r>
          </a:p>
        </p:txBody>
      </p:sp>
      <p:sp>
        <p:nvSpPr>
          <p:cNvPr id="67" name="Tekstiruutu 66"/>
          <p:cNvSpPr txBox="1"/>
          <p:nvPr/>
        </p:nvSpPr>
        <p:spPr>
          <a:xfrm>
            <a:off x="8095317" y="1732250"/>
            <a:ext cx="146240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err="1" smtClean="0"/>
              <a:t>StP</a:t>
            </a:r>
            <a:r>
              <a:rPr lang="fi-FI" sz="1000" dirty="0" smtClean="0"/>
              <a:t> </a:t>
            </a:r>
            <a:r>
              <a:rPr lang="fi-FI" sz="1000" dirty="0" err="1" smtClean="0"/>
              <a:t>check</a:t>
            </a:r>
            <a:r>
              <a:rPr lang="fi-FI" sz="1000" dirty="0" smtClean="0"/>
              <a:t> </a:t>
            </a:r>
            <a:r>
              <a:rPr lang="fi-FI" sz="1000" dirty="0" err="1" smtClean="0"/>
              <a:t>point</a:t>
            </a:r>
            <a:endParaRPr lang="fi-FI" sz="1000" dirty="0" smtClean="0"/>
          </a:p>
        </p:txBody>
      </p:sp>
      <p:sp>
        <p:nvSpPr>
          <p:cNvPr id="68" name="Tekstiruutu 67"/>
          <p:cNvSpPr txBox="1"/>
          <p:nvPr/>
        </p:nvSpPr>
        <p:spPr>
          <a:xfrm>
            <a:off x="8954895" y="3078083"/>
            <a:ext cx="146240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err="1" smtClean="0"/>
              <a:t>StP</a:t>
            </a:r>
            <a:r>
              <a:rPr lang="fi-FI" sz="1000" dirty="0" smtClean="0"/>
              <a:t> </a:t>
            </a:r>
            <a:r>
              <a:rPr lang="fi-FI" sz="1000" dirty="0" err="1" smtClean="0"/>
              <a:t>check</a:t>
            </a:r>
            <a:r>
              <a:rPr lang="fi-FI" sz="1000" dirty="0" smtClean="0"/>
              <a:t> </a:t>
            </a:r>
            <a:r>
              <a:rPr lang="fi-FI" sz="1000" dirty="0" err="1" smtClean="0"/>
              <a:t>point</a:t>
            </a:r>
            <a:endParaRPr lang="fi-FI" sz="1000" dirty="0" smtClean="0"/>
          </a:p>
          <a:p>
            <a:pPr algn="l"/>
            <a:r>
              <a:rPr lang="fi-FI" sz="1000" dirty="0" smtClean="0"/>
              <a:t>Hallitusohjelman purku</a:t>
            </a:r>
          </a:p>
        </p:txBody>
      </p:sp>
      <p:sp>
        <p:nvSpPr>
          <p:cNvPr id="70" name="Rectangle 45">
            <a:extLst>
              <a:ext uri="{FF2B5EF4-FFF2-40B4-BE49-F238E27FC236}">
                <a16:creationId xmlns:a16="http://schemas.microsoft.com/office/drawing/2014/main" id="{4870C5C5-0749-AD4B-8E08-1326EC216BCA}"/>
              </a:ext>
            </a:extLst>
          </p:cNvPr>
          <p:cNvSpPr/>
          <p:nvPr/>
        </p:nvSpPr>
        <p:spPr>
          <a:xfrm>
            <a:off x="9633124" y="2328403"/>
            <a:ext cx="10520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2023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45">
            <a:extLst>
              <a:ext uri="{FF2B5EF4-FFF2-40B4-BE49-F238E27FC236}">
                <a16:creationId xmlns:a16="http://schemas.microsoft.com/office/drawing/2014/main" id="{4870C5C5-0749-AD4B-8E08-1326EC216BCA}"/>
              </a:ext>
            </a:extLst>
          </p:cNvPr>
          <p:cNvSpPr/>
          <p:nvPr/>
        </p:nvSpPr>
        <p:spPr>
          <a:xfrm>
            <a:off x="10564700" y="2328551"/>
            <a:ext cx="10520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2023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Tekstiruutu 73"/>
          <p:cNvSpPr txBox="1"/>
          <p:nvPr/>
        </p:nvSpPr>
        <p:spPr>
          <a:xfrm>
            <a:off x="9686097" y="1298028"/>
            <a:ext cx="1462405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err="1" smtClean="0"/>
              <a:t>Final</a:t>
            </a:r>
            <a:r>
              <a:rPr lang="fi-FI" sz="1000" dirty="0" smtClean="0"/>
              <a:t> </a:t>
            </a:r>
            <a:r>
              <a:rPr lang="fi-FI" sz="1000" dirty="0" err="1" smtClean="0"/>
              <a:t>StP</a:t>
            </a:r>
            <a:r>
              <a:rPr lang="fi-FI" sz="1000" dirty="0" smtClean="0"/>
              <a:t> </a:t>
            </a:r>
            <a:r>
              <a:rPr lang="fi-FI" sz="1000" dirty="0" err="1" smtClean="0"/>
              <a:t>check</a:t>
            </a:r>
            <a:r>
              <a:rPr lang="fi-FI" sz="1000" dirty="0" smtClean="0"/>
              <a:t> </a:t>
            </a:r>
            <a:r>
              <a:rPr lang="fi-FI" sz="1000" dirty="0" err="1" smtClean="0"/>
              <a:t>point</a:t>
            </a:r>
            <a:endParaRPr lang="fi-FI" sz="1000" dirty="0" smtClean="0"/>
          </a:p>
          <a:p>
            <a:pPr algn="l"/>
            <a:r>
              <a:rPr lang="fi-FI" sz="1000" dirty="0" smtClean="0"/>
              <a:t>Uudelleen fokusoidut tavoitteet ja toimenpiteet uuden hallituksen ohjelman pohjalta</a:t>
            </a:r>
          </a:p>
        </p:txBody>
      </p:sp>
      <p:sp>
        <p:nvSpPr>
          <p:cNvPr id="75" name="Tekstiruutu 74"/>
          <p:cNvSpPr txBox="1"/>
          <p:nvPr/>
        </p:nvSpPr>
        <p:spPr>
          <a:xfrm>
            <a:off x="10729595" y="3113669"/>
            <a:ext cx="146240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smtClean="0"/>
              <a:t>Loppuraportti</a:t>
            </a:r>
          </a:p>
          <a:p>
            <a:pPr algn="l"/>
            <a:r>
              <a:rPr lang="fi-FI" sz="1000" dirty="0" smtClean="0"/>
              <a:t>…to </a:t>
            </a:r>
            <a:r>
              <a:rPr lang="fi-FI" sz="1000" dirty="0" err="1" smtClean="0"/>
              <a:t>be</a:t>
            </a:r>
            <a:r>
              <a:rPr lang="fi-FI" sz="1000" dirty="0" smtClean="0"/>
              <a:t> </a:t>
            </a:r>
            <a:r>
              <a:rPr lang="fi-FI" sz="1000" dirty="0" err="1" smtClean="0"/>
              <a:t>continued</a:t>
            </a:r>
            <a:endParaRPr lang="fi-FI" sz="1000" dirty="0" smtClean="0"/>
          </a:p>
        </p:txBody>
      </p:sp>
      <p:sp>
        <p:nvSpPr>
          <p:cNvPr id="76" name="Pentagon 38">
            <a:extLst>
              <a:ext uri="{FF2B5EF4-FFF2-40B4-BE49-F238E27FC236}">
                <a16:creationId xmlns:a16="http://schemas.microsoft.com/office/drawing/2014/main" id="{89D71392-EA08-DA46-AA51-BF7B0C5CC0C3}"/>
              </a:ext>
            </a:extLst>
          </p:cNvPr>
          <p:cNvSpPr/>
          <p:nvPr/>
        </p:nvSpPr>
        <p:spPr>
          <a:xfrm rot="16200000">
            <a:off x="9908878" y="4415287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7" name="Pentagon 27">
            <a:extLst>
              <a:ext uri="{FF2B5EF4-FFF2-40B4-BE49-F238E27FC236}">
                <a16:creationId xmlns:a16="http://schemas.microsoft.com/office/drawing/2014/main" id="{C3182408-C052-2548-BE94-C9399CDE38DE}"/>
              </a:ext>
            </a:extLst>
          </p:cNvPr>
          <p:cNvSpPr/>
          <p:nvPr/>
        </p:nvSpPr>
        <p:spPr>
          <a:xfrm rot="5400000">
            <a:off x="10907764" y="5071015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8" name="Pentagon 27">
            <a:extLst>
              <a:ext uri="{FF2B5EF4-FFF2-40B4-BE49-F238E27FC236}">
                <a16:creationId xmlns:a16="http://schemas.microsoft.com/office/drawing/2014/main" id="{C3182408-C052-2548-BE94-C9399CDE38DE}"/>
              </a:ext>
            </a:extLst>
          </p:cNvPr>
          <p:cNvSpPr/>
          <p:nvPr/>
        </p:nvSpPr>
        <p:spPr>
          <a:xfrm rot="5400000">
            <a:off x="9091664" y="4994815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9" name="Pentagon 38">
            <a:extLst>
              <a:ext uri="{FF2B5EF4-FFF2-40B4-BE49-F238E27FC236}">
                <a16:creationId xmlns:a16="http://schemas.microsoft.com/office/drawing/2014/main" id="{89D71392-EA08-DA46-AA51-BF7B0C5CC0C3}"/>
              </a:ext>
            </a:extLst>
          </p:cNvPr>
          <p:cNvSpPr/>
          <p:nvPr/>
        </p:nvSpPr>
        <p:spPr>
          <a:xfrm rot="16200000">
            <a:off x="8181678" y="4440687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0" name="Pentagon 27">
            <a:extLst>
              <a:ext uri="{FF2B5EF4-FFF2-40B4-BE49-F238E27FC236}">
                <a16:creationId xmlns:a16="http://schemas.microsoft.com/office/drawing/2014/main" id="{C3182408-C052-2548-BE94-C9399CDE38DE}"/>
              </a:ext>
            </a:extLst>
          </p:cNvPr>
          <p:cNvSpPr/>
          <p:nvPr/>
        </p:nvSpPr>
        <p:spPr>
          <a:xfrm rot="5400000">
            <a:off x="7133854" y="4988598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1" name="Pentagon 23">
            <a:extLst>
              <a:ext uri="{FF2B5EF4-FFF2-40B4-BE49-F238E27FC236}">
                <a16:creationId xmlns:a16="http://schemas.microsoft.com/office/drawing/2014/main" id="{01CF2235-E960-A848-9298-CE767533C884}"/>
              </a:ext>
            </a:extLst>
          </p:cNvPr>
          <p:cNvSpPr/>
          <p:nvPr/>
        </p:nvSpPr>
        <p:spPr>
          <a:xfrm rot="5400000">
            <a:off x="1080340" y="4988598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2" name="Pentagon 20">
            <a:extLst>
              <a:ext uri="{FF2B5EF4-FFF2-40B4-BE49-F238E27FC236}">
                <a16:creationId xmlns:a16="http://schemas.microsoft.com/office/drawing/2014/main" id="{60AF962A-8ACB-A84A-B79B-3B677AF37241}"/>
              </a:ext>
            </a:extLst>
          </p:cNvPr>
          <p:cNvSpPr/>
          <p:nvPr/>
        </p:nvSpPr>
        <p:spPr>
          <a:xfrm rot="16200000">
            <a:off x="1998998" y="4435589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3" name="Pentagon 31">
            <a:extLst>
              <a:ext uri="{FF2B5EF4-FFF2-40B4-BE49-F238E27FC236}">
                <a16:creationId xmlns:a16="http://schemas.microsoft.com/office/drawing/2014/main" id="{84081BC9-D0F8-3249-9D43-5F612697D74C}"/>
              </a:ext>
            </a:extLst>
          </p:cNvPr>
          <p:cNvSpPr/>
          <p:nvPr/>
        </p:nvSpPr>
        <p:spPr>
          <a:xfrm rot="5400000">
            <a:off x="2931804" y="4990505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4" name="Pentagon 32">
            <a:extLst>
              <a:ext uri="{FF2B5EF4-FFF2-40B4-BE49-F238E27FC236}">
                <a16:creationId xmlns:a16="http://schemas.microsoft.com/office/drawing/2014/main" id="{5A354677-7C64-B342-BFCA-FA4D86470351}"/>
              </a:ext>
            </a:extLst>
          </p:cNvPr>
          <p:cNvSpPr/>
          <p:nvPr/>
        </p:nvSpPr>
        <p:spPr>
          <a:xfrm rot="16200000">
            <a:off x="4042650" y="4435591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5" name="Pentagon 37">
            <a:extLst>
              <a:ext uri="{FF2B5EF4-FFF2-40B4-BE49-F238E27FC236}">
                <a16:creationId xmlns:a16="http://schemas.microsoft.com/office/drawing/2014/main" id="{42D8757B-704C-3448-991D-9B79FE295104}"/>
              </a:ext>
            </a:extLst>
          </p:cNvPr>
          <p:cNvSpPr/>
          <p:nvPr/>
        </p:nvSpPr>
        <p:spPr>
          <a:xfrm rot="5400000">
            <a:off x="5010718" y="5000890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6" name="Pentagon 38">
            <a:extLst>
              <a:ext uri="{FF2B5EF4-FFF2-40B4-BE49-F238E27FC236}">
                <a16:creationId xmlns:a16="http://schemas.microsoft.com/office/drawing/2014/main" id="{89D71392-EA08-DA46-AA51-BF7B0C5CC0C3}"/>
              </a:ext>
            </a:extLst>
          </p:cNvPr>
          <p:cNvSpPr/>
          <p:nvPr/>
        </p:nvSpPr>
        <p:spPr>
          <a:xfrm rot="16200000">
            <a:off x="6050240" y="4408697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7" name="Pentagon 6">
            <a:extLst>
              <a:ext uri="{FF2B5EF4-FFF2-40B4-BE49-F238E27FC236}">
                <a16:creationId xmlns:a16="http://schemas.microsoft.com/office/drawing/2014/main" id="{7DB73A5B-CF35-614E-81E3-70F1A60232B1}"/>
              </a:ext>
            </a:extLst>
          </p:cNvPr>
          <p:cNvSpPr/>
          <p:nvPr/>
        </p:nvSpPr>
        <p:spPr>
          <a:xfrm>
            <a:off x="665373" y="4626259"/>
            <a:ext cx="11158327" cy="467912"/>
          </a:xfrm>
          <a:prstGeom prst="homePlate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8" name="Rectangle 7">
            <a:extLst>
              <a:ext uri="{FF2B5EF4-FFF2-40B4-BE49-F238E27FC236}">
                <a16:creationId xmlns:a16="http://schemas.microsoft.com/office/drawing/2014/main" id="{641C05FC-FB9D-E44C-B3E6-97823649EBE8}"/>
              </a:ext>
            </a:extLst>
          </p:cNvPr>
          <p:cNvSpPr/>
          <p:nvPr/>
        </p:nvSpPr>
        <p:spPr>
          <a:xfrm>
            <a:off x="703936" y="4658058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/2021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Rectangle 8">
            <a:extLst>
              <a:ext uri="{FF2B5EF4-FFF2-40B4-BE49-F238E27FC236}">
                <a16:creationId xmlns:a16="http://schemas.microsoft.com/office/drawing/2014/main" id="{79025763-E33F-4240-A005-A5C3CCFFAE04}"/>
              </a:ext>
            </a:extLst>
          </p:cNvPr>
          <p:cNvSpPr/>
          <p:nvPr/>
        </p:nvSpPr>
        <p:spPr>
          <a:xfrm>
            <a:off x="1625677" y="4650840"/>
            <a:ext cx="124325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2021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Rectangle 33">
            <a:extLst>
              <a:ext uri="{FF2B5EF4-FFF2-40B4-BE49-F238E27FC236}">
                <a16:creationId xmlns:a16="http://schemas.microsoft.com/office/drawing/2014/main" id="{4BE7207A-E90C-ED42-AD53-6137239CD384}"/>
              </a:ext>
            </a:extLst>
          </p:cNvPr>
          <p:cNvSpPr/>
          <p:nvPr/>
        </p:nvSpPr>
        <p:spPr>
          <a:xfrm>
            <a:off x="2550632" y="4663771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2021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Rectangle 34">
            <a:extLst>
              <a:ext uri="{FF2B5EF4-FFF2-40B4-BE49-F238E27FC236}">
                <a16:creationId xmlns:a16="http://schemas.microsoft.com/office/drawing/2014/main" id="{CAF5429A-8179-334C-AF28-2E41C9D3F7DF}"/>
              </a:ext>
            </a:extLst>
          </p:cNvPr>
          <p:cNvSpPr/>
          <p:nvPr/>
        </p:nvSpPr>
        <p:spPr>
          <a:xfrm>
            <a:off x="3634320" y="4673419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2022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Rectangle 39">
            <a:extLst>
              <a:ext uri="{FF2B5EF4-FFF2-40B4-BE49-F238E27FC236}">
                <a16:creationId xmlns:a16="http://schemas.microsoft.com/office/drawing/2014/main" id="{5338208B-5FBF-8C4F-9C6A-DDEDA729A688}"/>
              </a:ext>
            </a:extLst>
          </p:cNvPr>
          <p:cNvSpPr/>
          <p:nvPr/>
        </p:nvSpPr>
        <p:spPr>
          <a:xfrm>
            <a:off x="4605042" y="4673418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/2022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Rectangle 40">
            <a:extLst>
              <a:ext uri="{FF2B5EF4-FFF2-40B4-BE49-F238E27FC236}">
                <a16:creationId xmlns:a16="http://schemas.microsoft.com/office/drawing/2014/main" id="{CB5A5584-09B8-794E-9BCC-C32BFE1E1066}"/>
              </a:ext>
            </a:extLst>
          </p:cNvPr>
          <p:cNvSpPr/>
          <p:nvPr/>
        </p:nvSpPr>
        <p:spPr>
          <a:xfrm>
            <a:off x="5642424" y="4669181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/2022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Rectangle 45">
            <a:extLst>
              <a:ext uri="{FF2B5EF4-FFF2-40B4-BE49-F238E27FC236}">
                <a16:creationId xmlns:a16="http://schemas.microsoft.com/office/drawing/2014/main" id="{4870C5C5-0749-AD4B-8E08-1326EC216BCA}"/>
              </a:ext>
            </a:extLst>
          </p:cNvPr>
          <p:cNvSpPr/>
          <p:nvPr/>
        </p:nvSpPr>
        <p:spPr>
          <a:xfrm>
            <a:off x="8769524" y="4652503"/>
            <a:ext cx="10520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/2023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Content Placeholder 2">
            <a:extLst>
              <a:ext uri="{FF2B5EF4-FFF2-40B4-BE49-F238E27FC236}">
                <a16:creationId xmlns:a16="http://schemas.microsoft.com/office/drawing/2014/main" id="{7F8116C0-96B2-4642-830D-ADC258C52388}"/>
              </a:ext>
            </a:extLst>
          </p:cNvPr>
          <p:cNvSpPr txBox="1">
            <a:spLocks/>
          </p:cNvSpPr>
          <p:nvPr/>
        </p:nvSpPr>
        <p:spPr>
          <a:xfrm>
            <a:off x="9308995" y="4864227"/>
            <a:ext cx="2124444" cy="58603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268288" indent="-26828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719138" indent="-26193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987425" indent="-182563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168400" indent="-18097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343025" indent="-17462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1219170">
              <a:spcBef>
                <a:spcPts val="400"/>
              </a:spcBef>
              <a:buClr>
                <a:srgbClr val="365ABD"/>
              </a:buClr>
              <a:buNone/>
            </a:pPr>
            <a:endParaRPr lang="fi-FI" sz="1467" dirty="0">
              <a:solidFill>
                <a:srgbClr val="000000"/>
              </a:solidFill>
            </a:endParaRPr>
          </a:p>
        </p:txBody>
      </p:sp>
      <p:sp>
        <p:nvSpPr>
          <p:cNvPr id="96" name="Content Placeholder 2">
            <a:extLst>
              <a:ext uri="{FF2B5EF4-FFF2-40B4-BE49-F238E27FC236}">
                <a16:creationId xmlns:a16="http://schemas.microsoft.com/office/drawing/2014/main" id="{7F8116C0-96B2-4642-830D-ADC258C52388}"/>
              </a:ext>
            </a:extLst>
          </p:cNvPr>
          <p:cNvSpPr txBox="1">
            <a:spLocks/>
          </p:cNvSpPr>
          <p:nvPr/>
        </p:nvSpPr>
        <p:spPr>
          <a:xfrm>
            <a:off x="4726125" y="4557127"/>
            <a:ext cx="2064208" cy="1106652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268288" indent="-26828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719138" indent="-26193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987425" indent="-182563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168400" indent="-18097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343025" indent="-17462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1219170">
              <a:spcBef>
                <a:spcPts val="400"/>
              </a:spcBef>
              <a:buClr>
                <a:srgbClr val="365ABD"/>
              </a:buClr>
              <a:buNone/>
            </a:pPr>
            <a:endParaRPr lang="fi-FI" sz="1467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97" name="Rectangle 40">
            <a:extLst>
              <a:ext uri="{FF2B5EF4-FFF2-40B4-BE49-F238E27FC236}">
                <a16:creationId xmlns:a16="http://schemas.microsoft.com/office/drawing/2014/main" id="{CB5A5584-09B8-794E-9BCC-C32BFE1E1066}"/>
              </a:ext>
            </a:extLst>
          </p:cNvPr>
          <p:cNvSpPr/>
          <p:nvPr/>
        </p:nvSpPr>
        <p:spPr>
          <a:xfrm>
            <a:off x="6795893" y="4663771"/>
            <a:ext cx="10505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2022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Rectangle 40">
            <a:extLst>
              <a:ext uri="{FF2B5EF4-FFF2-40B4-BE49-F238E27FC236}">
                <a16:creationId xmlns:a16="http://schemas.microsoft.com/office/drawing/2014/main" id="{CB5A5584-09B8-794E-9BCC-C32BFE1E1066}"/>
              </a:ext>
            </a:extLst>
          </p:cNvPr>
          <p:cNvSpPr/>
          <p:nvPr/>
        </p:nvSpPr>
        <p:spPr>
          <a:xfrm>
            <a:off x="7853174" y="4670035"/>
            <a:ext cx="11056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/2023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Tekstiruutu 100"/>
          <p:cNvSpPr txBox="1"/>
          <p:nvPr/>
        </p:nvSpPr>
        <p:spPr>
          <a:xfrm>
            <a:off x="1882262" y="4038782"/>
            <a:ext cx="16478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smtClean="0"/>
              <a:t>Periaatepäätösluonnoksen käsittely</a:t>
            </a:r>
          </a:p>
        </p:txBody>
      </p:sp>
      <p:sp>
        <p:nvSpPr>
          <p:cNvPr id="104" name="Tekstiruutu 103"/>
          <p:cNvSpPr txBox="1"/>
          <p:nvPr/>
        </p:nvSpPr>
        <p:spPr>
          <a:xfrm>
            <a:off x="3681352" y="3921494"/>
            <a:ext cx="146240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smtClean="0"/>
              <a:t>Vuoden 2022 raportointi</a:t>
            </a:r>
          </a:p>
          <a:p>
            <a:pPr algn="l"/>
            <a:r>
              <a:rPr lang="fi-FI" sz="1000" dirty="0" smtClean="0"/>
              <a:t>Kehysvalmistelu ja hallituksen viimeinen vuosi</a:t>
            </a:r>
          </a:p>
        </p:txBody>
      </p:sp>
      <p:sp>
        <p:nvSpPr>
          <p:cNvPr id="105" name="Tekstiruutu 104"/>
          <p:cNvSpPr txBox="1"/>
          <p:nvPr/>
        </p:nvSpPr>
        <p:spPr>
          <a:xfrm>
            <a:off x="5895350" y="4063226"/>
            <a:ext cx="146240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err="1" smtClean="0"/>
              <a:t>StP</a:t>
            </a:r>
            <a:r>
              <a:rPr lang="fi-FI" sz="1000" dirty="0" smtClean="0"/>
              <a:t> </a:t>
            </a:r>
            <a:r>
              <a:rPr lang="fi-FI" sz="1000" dirty="0" err="1" smtClean="0"/>
              <a:t>check</a:t>
            </a:r>
            <a:r>
              <a:rPr lang="fi-FI" sz="1000" dirty="0" smtClean="0"/>
              <a:t> </a:t>
            </a:r>
            <a:r>
              <a:rPr lang="fi-FI" sz="1000" dirty="0" err="1" smtClean="0"/>
              <a:t>point</a:t>
            </a:r>
            <a:endParaRPr lang="fi-FI" sz="1000" dirty="0" smtClean="0"/>
          </a:p>
        </p:txBody>
      </p:sp>
      <p:sp>
        <p:nvSpPr>
          <p:cNvPr id="109" name="Rectangle 45">
            <a:extLst>
              <a:ext uri="{FF2B5EF4-FFF2-40B4-BE49-F238E27FC236}">
                <a16:creationId xmlns:a16="http://schemas.microsoft.com/office/drawing/2014/main" id="{4870C5C5-0749-AD4B-8E08-1326EC216BCA}"/>
              </a:ext>
            </a:extLst>
          </p:cNvPr>
          <p:cNvSpPr/>
          <p:nvPr/>
        </p:nvSpPr>
        <p:spPr>
          <a:xfrm>
            <a:off x="9633124" y="4652503"/>
            <a:ext cx="10520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2023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Rectangle 45">
            <a:extLst>
              <a:ext uri="{FF2B5EF4-FFF2-40B4-BE49-F238E27FC236}">
                <a16:creationId xmlns:a16="http://schemas.microsoft.com/office/drawing/2014/main" id="{4870C5C5-0749-AD4B-8E08-1326EC216BCA}"/>
              </a:ext>
            </a:extLst>
          </p:cNvPr>
          <p:cNvSpPr/>
          <p:nvPr/>
        </p:nvSpPr>
        <p:spPr>
          <a:xfrm>
            <a:off x="10564700" y="4652651"/>
            <a:ext cx="10520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2023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Tekstiruutu 112"/>
          <p:cNvSpPr txBox="1"/>
          <p:nvPr/>
        </p:nvSpPr>
        <p:spPr>
          <a:xfrm>
            <a:off x="9793162" y="3982698"/>
            <a:ext cx="146240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smtClean="0"/>
              <a:t>Uuden hallituksen toimeenpano vauhtiin</a:t>
            </a:r>
          </a:p>
        </p:txBody>
      </p:sp>
      <p:sp>
        <p:nvSpPr>
          <p:cNvPr id="114" name="Tekstiruutu 113"/>
          <p:cNvSpPr txBox="1"/>
          <p:nvPr/>
        </p:nvSpPr>
        <p:spPr>
          <a:xfrm>
            <a:off x="7900364" y="3965708"/>
            <a:ext cx="146240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smtClean="0"/>
              <a:t>Mikä on perintö seuraavalle hallitukselle?</a:t>
            </a:r>
          </a:p>
        </p:txBody>
      </p:sp>
    </p:spTree>
    <p:extLst>
      <p:ext uri="{BB962C8B-B14F-4D97-AF65-F5344CB8AC3E}">
        <p14:creationId xmlns:p14="http://schemas.microsoft.com/office/powerpoint/2010/main" val="3671403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tangle 2">
            <a:extLst>
              <a:ext uri="{FF2B5EF4-FFF2-40B4-BE49-F238E27FC236}">
                <a16:creationId xmlns:a16="http://schemas.microsoft.com/office/drawing/2014/main" id="{F1E20CE9-1D51-054B-B6E7-126D5A984775}"/>
              </a:ext>
            </a:extLst>
          </p:cNvPr>
          <p:cNvSpPr/>
          <p:nvPr/>
        </p:nvSpPr>
        <p:spPr>
          <a:xfrm>
            <a:off x="299324" y="330200"/>
            <a:ext cx="11643875" cy="6197194"/>
          </a:xfrm>
          <a:prstGeom prst="rect">
            <a:avLst/>
          </a:prstGeom>
          <a:solidFill>
            <a:srgbClr val="5AB5EC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r>
              <a:rPr lang="fi-FI" sz="2400" smtClean="0">
                <a:solidFill>
                  <a:srgbClr val="FFFFFF"/>
                </a:solidFill>
                <a:latin typeface="Arial"/>
              </a:rPr>
              <a:t> </a:t>
            </a:r>
            <a:endParaRPr lang="fi-FI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3" name="Pentagon 38">
            <a:extLst>
              <a:ext uri="{FF2B5EF4-FFF2-40B4-BE49-F238E27FC236}">
                <a16:creationId xmlns:a16="http://schemas.microsoft.com/office/drawing/2014/main" id="{89D71392-EA08-DA46-AA51-BF7B0C5CC0C3}"/>
              </a:ext>
            </a:extLst>
          </p:cNvPr>
          <p:cNvSpPr/>
          <p:nvPr/>
        </p:nvSpPr>
        <p:spPr>
          <a:xfrm rot="16200000">
            <a:off x="9908878" y="2091187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2" name="Pentagon 27">
            <a:extLst>
              <a:ext uri="{FF2B5EF4-FFF2-40B4-BE49-F238E27FC236}">
                <a16:creationId xmlns:a16="http://schemas.microsoft.com/office/drawing/2014/main" id="{C3182408-C052-2548-BE94-C9399CDE38DE}"/>
              </a:ext>
            </a:extLst>
          </p:cNvPr>
          <p:cNvSpPr/>
          <p:nvPr/>
        </p:nvSpPr>
        <p:spPr>
          <a:xfrm rot="5400000">
            <a:off x="10907764" y="2746915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7" name="Pentagon 27">
            <a:extLst>
              <a:ext uri="{FF2B5EF4-FFF2-40B4-BE49-F238E27FC236}">
                <a16:creationId xmlns:a16="http://schemas.microsoft.com/office/drawing/2014/main" id="{C3182408-C052-2548-BE94-C9399CDE38DE}"/>
              </a:ext>
            </a:extLst>
          </p:cNvPr>
          <p:cNvSpPr/>
          <p:nvPr/>
        </p:nvSpPr>
        <p:spPr>
          <a:xfrm rot="5400000">
            <a:off x="9091664" y="2670715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8" name="Pentagon 38">
            <a:extLst>
              <a:ext uri="{FF2B5EF4-FFF2-40B4-BE49-F238E27FC236}">
                <a16:creationId xmlns:a16="http://schemas.microsoft.com/office/drawing/2014/main" id="{89D71392-EA08-DA46-AA51-BF7B0C5CC0C3}"/>
              </a:ext>
            </a:extLst>
          </p:cNvPr>
          <p:cNvSpPr/>
          <p:nvPr/>
        </p:nvSpPr>
        <p:spPr>
          <a:xfrm rot="16200000">
            <a:off x="8181678" y="2116587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Pentagon 27">
            <a:extLst>
              <a:ext uri="{FF2B5EF4-FFF2-40B4-BE49-F238E27FC236}">
                <a16:creationId xmlns:a16="http://schemas.microsoft.com/office/drawing/2014/main" id="{C3182408-C052-2548-BE94-C9399CDE38DE}"/>
              </a:ext>
            </a:extLst>
          </p:cNvPr>
          <p:cNvSpPr/>
          <p:nvPr/>
        </p:nvSpPr>
        <p:spPr>
          <a:xfrm rot="5400000">
            <a:off x="7133854" y="2664498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Pentagon 23">
            <a:extLst>
              <a:ext uri="{FF2B5EF4-FFF2-40B4-BE49-F238E27FC236}">
                <a16:creationId xmlns:a16="http://schemas.microsoft.com/office/drawing/2014/main" id="{01CF2235-E960-A848-9298-CE767533C884}"/>
              </a:ext>
            </a:extLst>
          </p:cNvPr>
          <p:cNvSpPr/>
          <p:nvPr/>
        </p:nvSpPr>
        <p:spPr>
          <a:xfrm rot="5400000">
            <a:off x="1080340" y="2664498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Pentagon 20">
            <a:extLst>
              <a:ext uri="{FF2B5EF4-FFF2-40B4-BE49-F238E27FC236}">
                <a16:creationId xmlns:a16="http://schemas.microsoft.com/office/drawing/2014/main" id="{60AF962A-8ACB-A84A-B79B-3B677AF37241}"/>
              </a:ext>
            </a:extLst>
          </p:cNvPr>
          <p:cNvSpPr/>
          <p:nvPr/>
        </p:nvSpPr>
        <p:spPr>
          <a:xfrm rot="16200000">
            <a:off x="1998998" y="2111489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2" name="Pentagon 31">
            <a:extLst>
              <a:ext uri="{FF2B5EF4-FFF2-40B4-BE49-F238E27FC236}">
                <a16:creationId xmlns:a16="http://schemas.microsoft.com/office/drawing/2014/main" id="{84081BC9-D0F8-3249-9D43-5F612697D74C}"/>
              </a:ext>
            </a:extLst>
          </p:cNvPr>
          <p:cNvSpPr/>
          <p:nvPr/>
        </p:nvSpPr>
        <p:spPr>
          <a:xfrm rot="5400000">
            <a:off x="2931804" y="2666405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Pentagon 32">
            <a:extLst>
              <a:ext uri="{FF2B5EF4-FFF2-40B4-BE49-F238E27FC236}">
                <a16:creationId xmlns:a16="http://schemas.microsoft.com/office/drawing/2014/main" id="{5A354677-7C64-B342-BFCA-FA4D86470351}"/>
              </a:ext>
            </a:extLst>
          </p:cNvPr>
          <p:cNvSpPr/>
          <p:nvPr/>
        </p:nvSpPr>
        <p:spPr>
          <a:xfrm rot="16200000">
            <a:off x="4042650" y="2111491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8" name="Pentagon 37">
            <a:extLst>
              <a:ext uri="{FF2B5EF4-FFF2-40B4-BE49-F238E27FC236}">
                <a16:creationId xmlns:a16="http://schemas.microsoft.com/office/drawing/2014/main" id="{42D8757B-704C-3448-991D-9B79FE295104}"/>
              </a:ext>
            </a:extLst>
          </p:cNvPr>
          <p:cNvSpPr/>
          <p:nvPr/>
        </p:nvSpPr>
        <p:spPr>
          <a:xfrm rot="5400000">
            <a:off x="5010718" y="2676790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9" name="Pentagon 38">
            <a:extLst>
              <a:ext uri="{FF2B5EF4-FFF2-40B4-BE49-F238E27FC236}">
                <a16:creationId xmlns:a16="http://schemas.microsoft.com/office/drawing/2014/main" id="{89D71392-EA08-DA46-AA51-BF7B0C5CC0C3}"/>
              </a:ext>
            </a:extLst>
          </p:cNvPr>
          <p:cNvSpPr/>
          <p:nvPr/>
        </p:nvSpPr>
        <p:spPr>
          <a:xfrm rot="16200000">
            <a:off x="6050240" y="2084597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entagon 6">
            <a:extLst>
              <a:ext uri="{FF2B5EF4-FFF2-40B4-BE49-F238E27FC236}">
                <a16:creationId xmlns:a16="http://schemas.microsoft.com/office/drawing/2014/main" id="{7DB73A5B-CF35-614E-81E3-70F1A60232B1}"/>
              </a:ext>
            </a:extLst>
          </p:cNvPr>
          <p:cNvSpPr/>
          <p:nvPr/>
        </p:nvSpPr>
        <p:spPr>
          <a:xfrm>
            <a:off x="665373" y="2302159"/>
            <a:ext cx="11158327" cy="467912"/>
          </a:xfrm>
          <a:prstGeom prst="homePlat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41C05FC-FB9D-E44C-B3E6-97823649EBE8}"/>
              </a:ext>
            </a:extLst>
          </p:cNvPr>
          <p:cNvSpPr/>
          <p:nvPr/>
        </p:nvSpPr>
        <p:spPr>
          <a:xfrm>
            <a:off x="703936" y="2333958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/2021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9025763-E33F-4240-A005-A5C3CCFFAE04}"/>
              </a:ext>
            </a:extLst>
          </p:cNvPr>
          <p:cNvSpPr/>
          <p:nvPr/>
        </p:nvSpPr>
        <p:spPr>
          <a:xfrm>
            <a:off x="1625677" y="2326740"/>
            <a:ext cx="124325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2021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BE7207A-E90C-ED42-AD53-6137239CD384}"/>
              </a:ext>
            </a:extLst>
          </p:cNvPr>
          <p:cNvSpPr/>
          <p:nvPr/>
        </p:nvSpPr>
        <p:spPr>
          <a:xfrm>
            <a:off x="2550632" y="2339671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2021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CAF5429A-8179-334C-AF28-2E41C9D3F7DF}"/>
              </a:ext>
            </a:extLst>
          </p:cNvPr>
          <p:cNvSpPr/>
          <p:nvPr/>
        </p:nvSpPr>
        <p:spPr>
          <a:xfrm>
            <a:off x="3634320" y="2349319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2022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338208B-5FBF-8C4F-9C6A-DDEDA729A688}"/>
              </a:ext>
            </a:extLst>
          </p:cNvPr>
          <p:cNvSpPr/>
          <p:nvPr/>
        </p:nvSpPr>
        <p:spPr>
          <a:xfrm>
            <a:off x="4605042" y="2349318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/2022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B5A5584-09B8-794E-9BCC-C32BFE1E1066}"/>
              </a:ext>
            </a:extLst>
          </p:cNvPr>
          <p:cNvSpPr/>
          <p:nvPr/>
        </p:nvSpPr>
        <p:spPr>
          <a:xfrm>
            <a:off x="5642424" y="2345081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/2022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870C5C5-0749-AD4B-8E08-1326EC216BCA}"/>
              </a:ext>
            </a:extLst>
          </p:cNvPr>
          <p:cNvSpPr/>
          <p:nvPr/>
        </p:nvSpPr>
        <p:spPr>
          <a:xfrm>
            <a:off x="8769524" y="2328403"/>
            <a:ext cx="10520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/2023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7F8116C0-96B2-4642-830D-ADC258C52388}"/>
              </a:ext>
            </a:extLst>
          </p:cNvPr>
          <p:cNvSpPr txBox="1">
            <a:spLocks/>
          </p:cNvSpPr>
          <p:nvPr/>
        </p:nvSpPr>
        <p:spPr>
          <a:xfrm>
            <a:off x="9308995" y="2540127"/>
            <a:ext cx="2124444" cy="58603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268288" indent="-26828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719138" indent="-26193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987425" indent="-182563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168400" indent="-18097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343025" indent="-17462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1219170">
              <a:spcBef>
                <a:spcPts val="400"/>
              </a:spcBef>
              <a:buClr>
                <a:srgbClr val="365ABD"/>
              </a:buClr>
              <a:buNone/>
            </a:pPr>
            <a:endParaRPr lang="fi-FI" sz="1467" dirty="0">
              <a:solidFill>
                <a:srgbClr val="000000"/>
              </a:solidFill>
            </a:endParaRP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7F8116C0-96B2-4642-830D-ADC258C52388}"/>
              </a:ext>
            </a:extLst>
          </p:cNvPr>
          <p:cNvSpPr txBox="1">
            <a:spLocks/>
          </p:cNvSpPr>
          <p:nvPr/>
        </p:nvSpPr>
        <p:spPr>
          <a:xfrm>
            <a:off x="4726125" y="2233027"/>
            <a:ext cx="2064208" cy="1106652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268288" indent="-26828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719138" indent="-26193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987425" indent="-182563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168400" indent="-18097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343025" indent="-17462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1219170">
              <a:spcBef>
                <a:spcPts val="400"/>
              </a:spcBef>
              <a:buClr>
                <a:srgbClr val="365ABD"/>
              </a:buClr>
              <a:buNone/>
            </a:pPr>
            <a:endParaRPr lang="fi-FI" sz="1467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29" name="Rectangle 40">
            <a:extLst>
              <a:ext uri="{FF2B5EF4-FFF2-40B4-BE49-F238E27FC236}">
                <a16:creationId xmlns:a16="http://schemas.microsoft.com/office/drawing/2014/main" id="{CB5A5584-09B8-794E-9BCC-C32BFE1E1066}"/>
              </a:ext>
            </a:extLst>
          </p:cNvPr>
          <p:cNvSpPr/>
          <p:nvPr/>
        </p:nvSpPr>
        <p:spPr>
          <a:xfrm>
            <a:off x="6795893" y="2339671"/>
            <a:ext cx="10505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2022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40">
            <a:extLst>
              <a:ext uri="{FF2B5EF4-FFF2-40B4-BE49-F238E27FC236}">
                <a16:creationId xmlns:a16="http://schemas.microsoft.com/office/drawing/2014/main" id="{CB5A5584-09B8-794E-9BCC-C32BFE1E1066}"/>
              </a:ext>
            </a:extLst>
          </p:cNvPr>
          <p:cNvSpPr/>
          <p:nvPr/>
        </p:nvSpPr>
        <p:spPr>
          <a:xfrm>
            <a:off x="7853174" y="2345935"/>
            <a:ext cx="11056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/2023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774E7C20-BCB0-1344-B230-3B41ED262480}"/>
              </a:ext>
            </a:extLst>
          </p:cNvPr>
          <p:cNvSpPr txBox="1">
            <a:spLocks/>
          </p:cNvSpPr>
          <p:nvPr/>
        </p:nvSpPr>
        <p:spPr>
          <a:xfrm>
            <a:off x="9807249" y="4934271"/>
            <a:ext cx="1914263" cy="115672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268288" indent="-26828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719138" indent="-26193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987425" indent="-182563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168400" indent="-18097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343025" indent="-17462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7708" indent="-357708" defTabSz="1219170">
              <a:spcBef>
                <a:spcPts val="400"/>
              </a:spcBef>
              <a:buClr>
                <a:srgbClr val="365ABD"/>
              </a:buClr>
            </a:pPr>
            <a:endParaRPr lang="fi-FI" sz="1467" b="1" dirty="0">
              <a:solidFill>
                <a:srgbClr val="000000"/>
              </a:solidFill>
            </a:endParaRPr>
          </a:p>
          <a:p>
            <a:pPr marL="357708" indent="-357708" defTabSz="1219170">
              <a:spcBef>
                <a:spcPts val="400"/>
              </a:spcBef>
              <a:buClr>
                <a:srgbClr val="365ABD"/>
              </a:buClr>
            </a:pPr>
            <a:endParaRPr lang="fi-FI" sz="1467" b="1" dirty="0">
              <a:solidFill>
                <a:srgbClr val="000000"/>
              </a:solidFill>
            </a:endParaRPr>
          </a:p>
          <a:p>
            <a:pPr marL="143996" indent="-143996" defTabSz="1219170">
              <a:spcBef>
                <a:spcPts val="400"/>
              </a:spcBef>
              <a:buClr>
                <a:srgbClr val="365ABD"/>
              </a:buClr>
            </a:pPr>
            <a:endParaRPr lang="fi-FI" sz="1467" b="1" dirty="0">
              <a:solidFill>
                <a:srgbClr val="000000"/>
              </a:solidFill>
            </a:endParaRPr>
          </a:p>
        </p:txBody>
      </p:sp>
      <p:grpSp>
        <p:nvGrpSpPr>
          <p:cNvPr id="52" name="Group 8">
            <a:extLst>
              <a:ext uri="{FF2B5EF4-FFF2-40B4-BE49-F238E27FC236}">
                <a16:creationId xmlns:a16="http://schemas.microsoft.com/office/drawing/2014/main" id="{EC40EE12-767B-0D47-8003-4D90E45C85B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/>
        </p:nvGrpSpPr>
        <p:grpSpPr>
          <a:xfrm>
            <a:off x="258366" y="1840259"/>
            <a:ext cx="7540857" cy="4687135"/>
            <a:chOff x="-4076657" y="1199291"/>
            <a:chExt cx="8512817" cy="4878746"/>
          </a:xfrm>
        </p:grpSpPr>
        <p:sp>
          <p:nvSpPr>
            <p:cNvPr id="54" name="TextBox 17">
              <a:extLst>
                <a:ext uri="{FF2B5EF4-FFF2-40B4-BE49-F238E27FC236}">
                  <a16:creationId xmlns:a16="http://schemas.microsoft.com/office/drawing/2014/main" id="{684B5C1A-4A15-5340-9363-9FA41D40B8E1}"/>
                </a:ext>
              </a:extLst>
            </p:cNvPr>
            <p:cNvSpPr txBox="1"/>
            <p:nvPr/>
          </p:nvSpPr>
          <p:spPr>
            <a:xfrm>
              <a:off x="-4076657" y="1199291"/>
              <a:ext cx="1070920" cy="22483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i-FI" sz="1000" b="1" noProof="0" dirty="0" smtClean="0">
                  <a:solidFill>
                    <a:prstClr val="white"/>
                  </a:solidFill>
                  <a:latin typeface="Arial Narrow"/>
                </a:rPr>
                <a:t>Ministeriöt</a:t>
              </a:r>
              <a:endParaRPr kumimoji="0" lang="en-FI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58" name="TextBox 80">
              <a:extLst>
                <a:ext uri="{FF2B5EF4-FFF2-40B4-BE49-F238E27FC236}">
                  <a16:creationId xmlns:a16="http://schemas.microsoft.com/office/drawing/2014/main" id="{F172DFE9-D5F0-864E-9A97-A91577327D5B}"/>
                </a:ext>
              </a:extLst>
            </p:cNvPr>
            <p:cNvSpPr txBox="1"/>
            <p:nvPr/>
          </p:nvSpPr>
          <p:spPr>
            <a:xfrm>
              <a:off x="3365240" y="5924149"/>
              <a:ext cx="107092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i-FI" sz="1000" b="1" dirty="0" smtClean="0">
                  <a:solidFill>
                    <a:prstClr val="white"/>
                  </a:solidFill>
                  <a:latin typeface="Arial Narrow"/>
                </a:rPr>
                <a:t>Hallinnonalat</a:t>
              </a:r>
              <a:endParaRPr kumimoji="0" lang="en-FI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sp>
        <p:nvSpPr>
          <p:cNvPr id="42" name="Otsikko 1"/>
          <p:cNvSpPr txBox="1">
            <a:spLocks/>
          </p:cNvSpPr>
          <p:nvPr/>
        </p:nvSpPr>
        <p:spPr>
          <a:xfrm>
            <a:off x="407306" y="458376"/>
            <a:ext cx="10571480" cy="64490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i-FI" dirty="0" smtClean="0"/>
              <a:t>Toimeenpanon ohjaus</a:t>
            </a:r>
            <a:endParaRPr lang="fi-FI" dirty="0"/>
          </a:p>
        </p:txBody>
      </p:sp>
      <p:sp>
        <p:nvSpPr>
          <p:cNvPr id="2" name="Tekstiruutu 1"/>
          <p:cNvSpPr txBox="1"/>
          <p:nvPr/>
        </p:nvSpPr>
        <p:spPr>
          <a:xfrm>
            <a:off x="560725" y="3080251"/>
            <a:ext cx="21807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smtClean="0"/>
              <a:t>OKM ja UM mukaan sihteeristöön, OM</a:t>
            </a:r>
          </a:p>
          <a:p>
            <a:pPr algn="l"/>
            <a:r>
              <a:rPr lang="fi-FI" sz="1000" dirty="0" smtClean="0"/>
              <a:t>Raportin vaikutukset hallinnonaloille</a:t>
            </a:r>
          </a:p>
          <a:p>
            <a:pPr algn="l"/>
            <a:r>
              <a:rPr lang="fi-FI" sz="1000" dirty="0" smtClean="0"/>
              <a:t>Periaatepäätöksen luonnos</a:t>
            </a:r>
          </a:p>
        </p:txBody>
      </p:sp>
      <p:sp>
        <p:nvSpPr>
          <p:cNvPr id="45" name="Tekstiruutu 44"/>
          <p:cNvSpPr txBox="1"/>
          <p:nvPr/>
        </p:nvSpPr>
        <p:spPr>
          <a:xfrm>
            <a:off x="1882262" y="1714682"/>
            <a:ext cx="16478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smtClean="0"/>
              <a:t>Periaatepäätöksestä toimeenpanoon</a:t>
            </a:r>
          </a:p>
        </p:txBody>
      </p:sp>
      <p:sp>
        <p:nvSpPr>
          <p:cNvPr id="64" name="Tekstiruutu 63"/>
          <p:cNvSpPr txBox="1"/>
          <p:nvPr/>
        </p:nvSpPr>
        <p:spPr>
          <a:xfrm>
            <a:off x="3666639" y="1382840"/>
            <a:ext cx="1462405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err="1" smtClean="0"/>
              <a:t>StP</a:t>
            </a:r>
            <a:r>
              <a:rPr lang="fi-FI" sz="1000" dirty="0" smtClean="0"/>
              <a:t> </a:t>
            </a:r>
            <a:r>
              <a:rPr lang="fi-FI" sz="1000" dirty="0" err="1" smtClean="0"/>
              <a:t>check</a:t>
            </a:r>
            <a:r>
              <a:rPr lang="fi-FI" sz="1000" dirty="0" smtClean="0"/>
              <a:t> </a:t>
            </a:r>
            <a:r>
              <a:rPr lang="fi-FI" sz="1000" dirty="0" err="1" smtClean="0"/>
              <a:t>point</a:t>
            </a:r>
            <a:endParaRPr lang="fi-FI" sz="1000" dirty="0" smtClean="0"/>
          </a:p>
          <a:p>
            <a:pPr algn="l"/>
            <a:r>
              <a:rPr lang="fi-FI" sz="1000" dirty="0" smtClean="0"/>
              <a:t>Kehysvalmistelu</a:t>
            </a:r>
          </a:p>
          <a:p>
            <a:pPr algn="l"/>
            <a:r>
              <a:rPr lang="fi-FI" sz="1000" dirty="0" smtClean="0"/>
              <a:t>Toimenpiteiden ohjaus hallituksen viimeiselle vuodelle</a:t>
            </a:r>
          </a:p>
        </p:txBody>
      </p:sp>
      <p:sp>
        <p:nvSpPr>
          <p:cNvPr id="65" name="Tekstiruutu 64"/>
          <p:cNvSpPr txBox="1"/>
          <p:nvPr/>
        </p:nvSpPr>
        <p:spPr>
          <a:xfrm>
            <a:off x="5791898" y="1447324"/>
            <a:ext cx="146240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smtClean="0"/>
              <a:t>Nostot valtioneuvoston tulevaisuuskatsauksia varten</a:t>
            </a:r>
          </a:p>
        </p:txBody>
      </p:sp>
      <p:sp>
        <p:nvSpPr>
          <p:cNvPr id="66" name="Tekstiruutu 65"/>
          <p:cNvSpPr txBox="1"/>
          <p:nvPr/>
        </p:nvSpPr>
        <p:spPr>
          <a:xfrm>
            <a:off x="6962670" y="3036590"/>
            <a:ext cx="146240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err="1" smtClean="0"/>
              <a:t>StP</a:t>
            </a:r>
            <a:r>
              <a:rPr lang="fi-FI" sz="1000" dirty="0" smtClean="0"/>
              <a:t> </a:t>
            </a:r>
            <a:r>
              <a:rPr lang="fi-FI" sz="1000" dirty="0" err="1" smtClean="0"/>
              <a:t>check</a:t>
            </a:r>
            <a:r>
              <a:rPr lang="fi-FI" sz="1000" dirty="0" smtClean="0"/>
              <a:t> </a:t>
            </a:r>
            <a:r>
              <a:rPr lang="fi-FI" sz="1000" dirty="0" err="1" smtClean="0"/>
              <a:t>point</a:t>
            </a:r>
            <a:endParaRPr lang="fi-FI" sz="1000" dirty="0" smtClean="0"/>
          </a:p>
          <a:p>
            <a:pPr algn="l"/>
            <a:r>
              <a:rPr lang="fi-FI" sz="1000" dirty="0" smtClean="0"/>
              <a:t>Syötteet hallitusohjelma-keskusteluihin</a:t>
            </a:r>
          </a:p>
        </p:txBody>
      </p:sp>
      <p:sp>
        <p:nvSpPr>
          <p:cNvPr id="70" name="Rectangle 45">
            <a:extLst>
              <a:ext uri="{FF2B5EF4-FFF2-40B4-BE49-F238E27FC236}">
                <a16:creationId xmlns:a16="http://schemas.microsoft.com/office/drawing/2014/main" id="{4870C5C5-0749-AD4B-8E08-1326EC216BCA}"/>
              </a:ext>
            </a:extLst>
          </p:cNvPr>
          <p:cNvSpPr/>
          <p:nvPr/>
        </p:nvSpPr>
        <p:spPr>
          <a:xfrm>
            <a:off x="9633124" y="2328403"/>
            <a:ext cx="10520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2023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45">
            <a:extLst>
              <a:ext uri="{FF2B5EF4-FFF2-40B4-BE49-F238E27FC236}">
                <a16:creationId xmlns:a16="http://schemas.microsoft.com/office/drawing/2014/main" id="{4870C5C5-0749-AD4B-8E08-1326EC216BCA}"/>
              </a:ext>
            </a:extLst>
          </p:cNvPr>
          <p:cNvSpPr/>
          <p:nvPr/>
        </p:nvSpPr>
        <p:spPr>
          <a:xfrm>
            <a:off x="10564700" y="2328551"/>
            <a:ext cx="10520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2023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Tekstiruutu 73"/>
          <p:cNvSpPr txBox="1"/>
          <p:nvPr/>
        </p:nvSpPr>
        <p:spPr>
          <a:xfrm>
            <a:off x="9654771" y="1232963"/>
            <a:ext cx="1462405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err="1" smtClean="0"/>
              <a:t>Final</a:t>
            </a:r>
            <a:r>
              <a:rPr lang="fi-FI" sz="1000" dirty="0" smtClean="0"/>
              <a:t> </a:t>
            </a:r>
            <a:r>
              <a:rPr lang="fi-FI" sz="1000" dirty="0" err="1" smtClean="0"/>
              <a:t>StP</a:t>
            </a:r>
            <a:r>
              <a:rPr lang="fi-FI" sz="1000" dirty="0" smtClean="0"/>
              <a:t> </a:t>
            </a:r>
            <a:r>
              <a:rPr lang="fi-FI" sz="1000" dirty="0" err="1" smtClean="0"/>
              <a:t>check</a:t>
            </a:r>
            <a:r>
              <a:rPr lang="fi-FI" sz="1000" dirty="0" smtClean="0"/>
              <a:t> </a:t>
            </a:r>
            <a:r>
              <a:rPr lang="fi-FI" sz="1000" dirty="0" err="1" smtClean="0"/>
              <a:t>point</a:t>
            </a:r>
            <a:endParaRPr lang="fi-FI" sz="1000" dirty="0" smtClean="0"/>
          </a:p>
          <a:p>
            <a:pPr algn="l"/>
            <a:r>
              <a:rPr lang="fi-FI" sz="1000" dirty="0" err="1" smtClean="0"/>
              <a:t>Uudellen</a:t>
            </a:r>
            <a:r>
              <a:rPr lang="fi-FI" sz="1000" dirty="0" smtClean="0"/>
              <a:t> fokusoidut tavoitteet ja toimenpiteet uuden hallituksen ohjelman pohjalta</a:t>
            </a:r>
          </a:p>
        </p:txBody>
      </p:sp>
      <p:sp>
        <p:nvSpPr>
          <p:cNvPr id="76" name="Pentagon 38">
            <a:extLst>
              <a:ext uri="{FF2B5EF4-FFF2-40B4-BE49-F238E27FC236}">
                <a16:creationId xmlns:a16="http://schemas.microsoft.com/office/drawing/2014/main" id="{89D71392-EA08-DA46-AA51-BF7B0C5CC0C3}"/>
              </a:ext>
            </a:extLst>
          </p:cNvPr>
          <p:cNvSpPr/>
          <p:nvPr/>
        </p:nvSpPr>
        <p:spPr>
          <a:xfrm rot="16200000">
            <a:off x="9908878" y="4415287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7" name="Pentagon 27">
            <a:extLst>
              <a:ext uri="{FF2B5EF4-FFF2-40B4-BE49-F238E27FC236}">
                <a16:creationId xmlns:a16="http://schemas.microsoft.com/office/drawing/2014/main" id="{C3182408-C052-2548-BE94-C9399CDE38DE}"/>
              </a:ext>
            </a:extLst>
          </p:cNvPr>
          <p:cNvSpPr/>
          <p:nvPr/>
        </p:nvSpPr>
        <p:spPr>
          <a:xfrm rot="5400000">
            <a:off x="10907764" y="5071015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8" name="Pentagon 27">
            <a:extLst>
              <a:ext uri="{FF2B5EF4-FFF2-40B4-BE49-F238E27FC236}">
                <a16:creationId xmlns:a16="http://schemas.microsoft.com/office/drawing/2014/main" id="{C3182408-C052-2548-BE94-C9399CDE38DE}"/>
              </a:ext>
            </a:extLst>
          </p:cNvPr>
          <p:cNvSpPr/>
          <p:nvPr/>
        </p:nvSpPr>
        <p:spPr>
          <a:xfrm rot="5400000">
            <a:off x="9091664" y="4994815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9" name="Pentagon 38">
            <a:extLst>
              <a:ext uri="{FF2B5EF4-FFF2-40B4-BE49-F238E27FC236}">
                <a16:creationId xmlns:a16="http://schemas.microsoft.com/office/drawing/2014/main" id="{89D71392-EA08-DA46-AA51-BF7B0C5CC0C3}"/>
              </a:ext>
            </a:extLst>
          </p:cNvPr>
          <p:cNvSpPr/>
          <p:nvPr/>
        </p:nvSpPr>
        <p:spPr>
          <a:xfrm rot="16200000">
            <a:off x="8181678" y="4440687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0" name="Pentagon 27">
            <a:extLst>
              <a:ext uri="{FF2B5EF4-FFF2-40B4-BE49-F238E27FC236}">
                <a16:creationId xmlns:a16="http://schemas.microsoft.com/office/drawing/2014/main" id="{C3182408-C052-2548-BE94-C9399CDE38DE}"/>
              </a:ext>
            </a:extLst>
          </p:cNvPr>
          <p:cNvSpPr/>
          <p:nvPr/>
        </p:nvSpPr>
        <p:spPr>
          <a:xfrm rot="5400000">
            <a:off x="7133854" y="4988598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1" name="Pentagon 23">
            <a:extLst>
              <a:ext uri="{FF2B5EF4-FFF2-40B4-BE49-F238E27FC236}">
                <a16:creationId xmlns:a16="http://schemas.microsoft.com/office/drawing/2014/main" id="{01CF2235-E960-A848-9298-CE767533C884}"/>
              </a:ext>
            </a:extLst>
          </p:cNvPr>
          <p:cNvSpPr/>
          <p:nvPr/>
        </p:nvSpPr>
        <p:spPr>
          <a:xfrm rot="5400000">
            <a:off x="1080340" y="4988598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2" name="Pentagon 20">
            <a:extLst>
              <a:ext uri="{FF2B5EF4-FFF2-40B4-BE49-F238E27FC236}">
                <a16:creationId xmlns:a16="http://schemas.microsoft.com/office/drawing/2014/main" id="{60AF962A-8ACB-A84A-B79B-3B677AF37241}"/>
              </a:ext>
            </a:extLst>
          </p:cNvPr>
          <p:cNvSpPr/>
          <p:nvPr/>
        </p:nvSpPr>
        <p:spPr>
          <a:xfrm rot="16200000">
            <a:off x="1998998" y="4435589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3" name="Pentagon 31">
            <a:extLst>
              <a:ext uri="{FF2B5EF4-FFF2-40B4-BE49-F238E27FC236}">
                <a16:creationId xmlns:a16="http://schemas.microsoft.com/office/drawing/2014/main" id="{84081BC9-D0F8-3249-9D43-5F612697D74C}"/>
              </a:ext>
            </a:extLst>
          </p:cNvPr>
          <p:cNvSpPr/>
          <p:nvPr/>
        </p:nvSpPr>
        <p:spPr>
          <a:xfrm rot="5400000">
            <a:off x="2931804" y="4990505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4" name="Pentagon 32">
            <a:extLst>
              <a:ext uri="{FF2B5EF4-FFF2-40B4-BE49-F238E27FC236}">
                <a16:creationId xmlns:a16="http://schemas.microsoft.com/office/drawing/2014/main" id="{5A354677-7C64-B342-BFCA-FA4D86470351}"/>
              </a:ext>
            </a:extLst>
          </p:cNvPr>
          <p:cNvSpPr/>
          <p:nvPr/>
        </p:nvSpPr>
        <p:spPr>
          <a:xfrm rot="16200000">
            <a:off x="4042650" y="4435591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5" name="Pentagon 37">
            <a:extLst>
              <a:ext uri="{FF2B5EF4-FFF2-40B4-BE49-F238E27FC236}">
                <a16:creationId xmlns:a16="http://schemas.microsoft.com/office/drawing/2014/main" id="{42D8757B-704C-3448-991D-9B79FE295104}"/>
              </a:ext>
            </a:extLst>
          </p:cNvPr>
          <p:cNvSpPr/>
          <p:nvPr/>
        </p:nvSpPr>
        <p:spPr>
          <a:xfrm rot="5400000">
            <a:off x="5010718" y="5000890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6" name="Pentagon 38">
            <a:extLst>
              <a:ext uri="{FF2B5EF4-FFF2-40B4-BE49-F238E27FC236}">
                <a16:creationId xmlns:a16="http://schemas.microsoft.com/office/drawing/2014/main" id="{89D71392-EA08-DA46-AA51-BF7B0C5CC0C3}"/>
              </a:ext>
            </a:extLst>
          </p:cNvPr>
          <p:cNvSpPr/>
          <p:nvPr/>
        </p:nvSpPr>
        <p:spPr>
          <a:xfrm rot="16200000">
            <a:off x="6050240" y="4408697"/>
            <a:ext cx="418825" cy="276780"/>
          </a:xfrm>
          <a:prstGeom prst="homePlate">
            <a:avLst/>
          </a:prstGeom>
          <a:solidFill>
            <a:srgbClr val="5AB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7" name="Pentagon 6">
            <a:extLst>
              <a:ext uri="{FF2B5EF4-FFF2-40B4-BE49-F238E27FC236}">
                <a16:creationId xmlns:a16="http://schemas.microsoft.com/office/drawing/2014/main" id="{7DB73A5B-CF35-614E-81E3-70F1A60232B1}"/>
              </a:ext>
            </a:extLst>
          </p:cNvPr>
          <p:cNvSpPr/>
          <p:nvPr/>
        </p:nvSpPr>
        <p:spPr>
          <a:xfrm>
            <a:off x="665373" y="4626259"/>
            <a:ext cx="11158327" cy="467912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fi-FI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8" name="Rectangle 7">
            <a:extLst>
              <a:ext uri="{FF2B5EF4-FFF2-40B4-BE49-F238E27FC236}">
                <a16:creationId xmlns:a16="http://schemas.microsoft.com/office/drawing/2014/main" id="{641C05FC-FB9D-E44C-B3E6-97823649EBE8}"/>
              </a:ext>
            </a:extLst>
          </p:cNvPr>
          <p:cNvSpPr/>
          <p:nvPr/>
        </p:nvSpPr>
        <p:spPr>
          <a:xfrm>
            <a:off x="703936" y="4658058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/2021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Rectangle 8">
            <a:extLst>
              <a:ext uri="{FF2B5EF4-FFF2-40B4-BE49-F238E27FC236}">
                <a16:creationId xmlns:a16="http://schemas.microsoft.com/office/drawing/2014/main" id="{79025763-E33F-4240-A005-A5C3CCFFAE04}"/>
              </a:ext>
            </a:extLst>
          </p:cNvPr>
          <p:cNvSpPr/>
          <p:nvPr/>
        </p:nvSpPr>
        <p:spPr>
          <a:xfrm>
            <a:off x="1625677" y="4650840"/>
            <a:ext cx="124325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2021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Rectangle 33">
            <a:extLst>
              <a:ext uri="{FF2B5EF4-FFF2-40B4-BE49-F238E27FC236}">
                <a16:creationId xmlns:a16="http://schemas.microsoft.com/office/drawing/2014/main" id="{4BE7207A-E90C-ED42-AD53-6137239CD384}"/>
              </a:ext>
            </a:extLst>
          </p:cNvPr>
          <p:cNvSpPr/>
          <p:nvPr/>
        </p:nvSpPr>
        <p:spPr>
          <a:xfrm>
            <a:off x="2550632" y="4663771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2021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Rectangle 34">
            <a:extLst>
              <a:ext uri="{FF2B5EF4-FFF2-40B4-BE49-F238E27FC236}">
                <a16:creationId xmlns:a16="http://schemas.microsoft.com/office/drawing/2014/main" id="{CAF5429A-8179-334C-AF28-2E41C9D3F7DF}"/>
              </a:ext>
            </a:extLst>
          </p:cNvPr>
          <p:cNvSpPr/>
          <p:nvPr/>
        </p:nvSpPr>
        <p:spPr>
          <a:xfrm>
            <a:off x="3634320" y="4673419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2022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Rectangle 39">
            <a:extLst>
              <a:ext uri="{FF2B5EF4-FFF2-40B4-BE49-F238E27FC236}">
                <a16:creationId xmlns:a16="http://schemas.microsoft.com/office/drawing/2014/main" id="{5338208B-5FBF-8C4F-9C6A-DDEDA729A688}"/>
              </a:ext>
            </a:extLst>
          </p:cNvPr>
          <p:cNvSpPr/>
          <p:nvPr/>
        </p:nvSpPr>
        <p:spPr>
          <a:xfrm>
            <a:off x="4605042" y="4673418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/2022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Rectangle 40">
            <a:extLst>
              <a:ext uri="{FF2B5EF4-FFF2-40B4-BE49-F238E27FC236}">
                <a16:creationId xmlns:a16="http://schemas.microsoft.com/office/drawing/2014/main" id="{CB5A5584-09B8-794E-9BCC-C32BFE1E1066}"/>
              </a:ext>
            </a:extLst>
          </p:cNvPr>
          <p:cNvSpPr/>
          <p:nvPr/>
        </p:nvSpPr>
        <p:spPr>
          <a:xfrm>
            <a:off x="5642424" y="4669181"/>
            <a:ext cx="12237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/2022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Rectangle 45">
            <a:extLst>
              <a:ext uri="{FF2B5EF4-FFF2-40B4-BE49-F238E27FC236}">
                <a16:creationId xmlns:a16="http://schemas.microsoft.com/office/drawing/2014/main" id="{4870C5C5-0749-AD4B-8E08-1326EC216BCA}"/>
              </a:ext>
            </a:extLst>
          </p:cNvPr>
          <p:cNvSpPr/>
          <p:nvPr/>
        </p:nvSpPr>
        <p:spPr>
          <a:xfrm>
            <a:off x="8769524" y="4652503"/>
            <a:ext cx="10520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/2023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Content Placeholder 2">
            <a:extLst>
              <a:ext uri="{FF2B5EF4-FFF2-40B4-BE49-F238E27FC236}">
                <a16:creationId xmlns:a16="http://schemas.microsoft.com/office/drawing/2014/main" id="{7F8116C0-96B2-4642-830D-ADC258C52388}"/>
              </a:ext>
            </a:extLst>
          </p:cNvPr>
          <p:cNvSpPr txBox="1">
            <a:spLocks/>
          </p:cNvSpPr>
          <p:nvPr/>
        </p:nvSpPr>
        <p:spPr>
          <a:xfrm>
            <a:off x="9308995" y="4864227"/>
            <a:ext cx="2124444" cy="58603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268288" indent="-26828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719138" indent="-26193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987425" indent="-182563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168400" indent="-18097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343025" indent="-17462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1219170">
              <a:spcBef>
                <a:spcPts val="400"/>
              </a:spcBef>
              <a:buClr>
                <a:srgbClr val="365ABD"/>
              </a:buClr>
              <a:buNone/>
            </a:pPr>
            <a:endParaRPr lang="fi-FI" sz="1467" dirty="0">
              <a:solidFill>
                <a:srgbClr val="000000"/>
              </a:solidFill>
            </a:endParaRPr>
          </a:p>
        </p:txBody>
      </p:sp>
      <p:sp>
        <p:nvSpPr>
          <p:cNvPr id="96" name="Content Placeholder 2">
            <a:extLst>
              <a:ext uri="{FF2B5EF4-FFF2-40B4-BE49-F238E27FC236}">
                <a16:creationId xmlns:a16="http://schemas.microsoft.com/office/drawing/2014/main" id="{7F8116C0-96B2-4642-830D-ADC258C52388}"/>
              </a:ext>
            </a:extLst>
          </p:cNvPr>
          <p:cNvSpPr txBox="1">
            <a:spLocks/>
          </p:cNvSpPr>
          <p:nvPr/>
        </p:nvSpPr>
        <p:spPr>
          <a:xfrm>
            <a:off x="4726125" y="4557127"/>
            <a:ext cx="2064208" cy="1106652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268288" indent="-26828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719138" indent="-261938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 marL="987425" indent="-182563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3pPr>
            <a:lvl4pPr marL="1168400" indent="-18097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 marL="1343025" indent="-174625" algn="l" defTabSz="914400" rtl="0" eaLnBrk="1" latinLnBrk="0" hangingPunct="1">
              <a:spcBef>
                <a:spcPts val="14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1219170">
              <a:spcBef>
                <a:spcPts val="400"/>
              </a:spcBef>
              <a:buClr>
                <a:srgbClr val="365ABD"/>
              </a:buClr>
              <a:buNone/>
            </a:pPr>
            <a:endParaRPr lang="fi-FI" sz="1467" dirty="0">
              <a:solidFill>
                <a:srgbClr val="000000"/>
              </a:solidFill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97" name="Rectangle 40">
            <a:extLst>
              <a:ext uri="{FF2B5EF4-FFF2-40B4-BE49-F238E27FC236}">
                <a16:creationId xmlns:a16="http://schemas.microsoft.com/office/drawing/2014/main" id="{CB5A5584-09B8-794E-9BCC-C32BFE1E1066}"/>
              </a:ext>
            </a:extLst>
          </p:cNvPr>
          <p:cNvSpPr/>
          <p:nvPr/>
        </p:nvSpPr>
        <p:spPr>
          <a:xfrm>
            <a:off x="6795893" y="4663771"/>
            <a:ext cx="105059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2022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Rectangle 40">
            <a:extLst>
              <a:ext uri="{FF2B5EF4-FFF2-40B4-BE49-F238E27FC236}">
                <a16:creationId xmlns:a16="http://schemas.microsoft.com/office/drawing/2014/main" id="{CB5A5584-09B8-794E-9BCC-C32BFE1E1066}"/>
              </a:ext>
            </a:extLst>
          </p:cNvPr>
          <p:cNvSpPr/>
          <p:nvPr/>
        </p:nvSpPr>
        <p:spPr>
          <a:xfrm>
            <a:off x="7853174" y="4670035"/>
            <a:ext cx="11056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/2023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Tekstiruutu 100"/>
          <p:cNvSpPr txBox="1"/>
          <p:nvPr/>
        </p:nvSpPr>
        <p:spPr>
          <a:xfrm>
            <a:off x="1763508" y="3975396"/>
            <a:ext cx="164785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1000" dirty="0" smtClean="0"/>
              <a:t>Sidosryhmäkeskustelut toimeenpanosta</a:t>
            </a:r>
          </a:p>
        </p:txBody>
      </p:sp>
      <p:sp>
        <p:nvSpPr>
          <p:cNvPr id="109" name="Rectangle 45">
            <a:extLst>
              <a:ext uri="{FF2B5EF4-FFF2-40B4-BE49-F238E27FC236}">
                <a16:creationId xmlns:a16="http://schemas.microsoft.com/office/drawing/2014/main" id="{4870C5C5-0749-AD4B-8E08-1326EC216BCA}"/>
              </a:ext>
            </a:extLst>
          </p:cNvPr>
          <p:cNvSpPr/>
          <p:nvPr/>
        </p:nvSpPr>
        <p:spPr>
          <a:xfrm>
            <a:off x="9633124" y="4652503"/>
            <a:ext cx="10520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2023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Rectangle 45">
            <a:extLst>
              <a:ext uri="{FF2B5EF4-FFF2-40B4-BE49-F238E27FC236}">
                <a16:creationId xmlns:a16="http://schemas.microsoft.com/office/drawing/2014/main" id="{4870C5C5-0749-AD4B-8E08-1326EC216BCA}"/>
              </a:ext>
            </a:extLst>
          </p:cNvPr>
          <p:cNvSpPr/>
          <p:nvPr/>
        </p:nvSpPr>
        <p:spPr>
          <a:xfrm>
            <a:off x="10564700" y="4652651"/>
            <a:ext cx="105206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fi-FI" sz="16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2023</a:t>
            </a:r>
            <a:endParaRPr lang="fi-FI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kstiruutu 66"/>
          <p:cNvSpPr txBox="1"/>
          <p:nvPr/>
        </p:nvSpPr>
        <p:spPr>
          <a:xfrm>
            <a:off x="815190" y="5438220"/>
            <a:ext cx="16478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endParaRPr lang="fi-FI" sz="1000" dirty="0" smtClean="0"/>
          </a:p>
        </p:txBody>
      </p:sp>
      <p:sp>
        <p:nvSpPr>
          <p:cNvPr id="68" name="Rectangle 63">
            <a:extLst>
              <a:ext uri="{FF2B5EF4-FFF2-40B4-BE49-F238E27FC236}">
                <a16:creationId xmlns:a16="http://schemas.microsoft.com/office/drawing/2014/main" id="{199EBD2B-CB70-5140-B00A-CC1570E42F2D}"/>
              </a:ext>
            </a:extLst>
          </p:cNvPr>
          <p:cNvSpPr/>
          <p:nvPr/>
        </p:nvSpPr>
        <p:spPr>
          <a:xfrm>
            <a:off x="299324" y="5450263"/>
            <a:ext cx="3334996" cy="138731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</a:rPr>
              <a:t>Muut:</a:t>
            </a: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fi-FI" sz="1200" dirty="0" smtClean="0">
                <a:solidFill>
                  <a:prstClr val="white"/>
                </a:solidFill>
                <a:latin typeface="+mj-lt"/>
              </a:rPr>
              <a:t>Tutkimus- ja </a:t>
            </a:r>
            <a:r>
              <a:rPr lang="fi-FI" sz="1200" dirty="0" err="1" smtClean="0">
                <a:solidFill>
                  <a:prstClr val="white"/>
                </a:solidFill>
                <a:latin typeface="+mj-lt"/>
              </a:rPr>
              <a:t>innovationeuvosto</a:t>
            </a:r>
            <a:endParaRPr lang="fi-FI" sz="1200" dirty="0" smtClean="0">
              <a:solidFill>
                <a:prstClr val="white"/>
              </a:solidFill>
              <a:latin typeface="+mj-lt"/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fi-FI" sz="1200" dirty="0" smtClean="0">
                <a:solidFill>
                  <a:prstClr val="white"/>
                </a:solidFill>
                <a:latin typeface="+mj-lt"/>
              </a:rPr>
              <a:t>Tekoälyn tutkimuksen asiantuntijaryhmä</a:t>
            </a:r>
          </a:p>
          <a:p>
            <a:pPr marL="171450" indent="-171450">
              <a:buFontTx/>
              <a:buChar char="-"/>
              <a:defRPr/>
            </a:pPr>
            <a:r>
              <a:rPr kumimoji="0" lang="fi-FI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</a:rPr>
              <a:t>Tiedonhallinnan ja </a:t>
            </a:r>
            <a:r>
              <a:rPr kumimoji="0" lang="fi-FI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</a:rPr>
              <a:t>digitalisaation</a:t>
            </a:r>
            <a:r>
              <a:rPr kumimoji="0" lang="fi-FI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fi-FI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</a:rPr>
              <a:t>strategeinen</a:t>
            </a:r>
            <a:r>
              <a:rPr kumimoji="0" lang="fi-FI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</a:rPr>
              <a:t> yhteistyöryhmä</a:t>
            </a:r>
          </a:p>
          <a:p>
            <a:pPr marL="171450" indent="-171450">
              <a:buFontTx/>
              <a:buChar char="-"/>
              <a:defRPr/>
            </a:pPr>
            <a:r>
              <a:rPr lang="fi-FI" sz="1200" dirty="0" smtClean="0">
                <a:solidFill>
                  <a:prstClr val="white"/>
                </a:solidFill>
                <a:latin typeface="+mj-lt"/>
              </a:rPr>
              <a:t>Digi Arkeen -neuvottelukunta</a:t>
            </a:r>
            <a:endParaRPr kumimoji="0" lang="fi-FI" sz="12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</a:endParaRPr>
          </a:p>
          <a:p>
            <a:pPr marL="171450" indent="-171450">
              <a:buFontTx/>
              <a:buChar char="-"/>
              <a:defRPr/>
            </a:pPr>
            <a:r>
              <a:rPr lang="fi-FI" sz="1200" dirty="0" smtClean="0">
                <a:solidFill>
                  <a:prstClr val="white"/>
                </a:solidFill>
                <a:latin typeface="+mj-lt"/>
              </a:rPr>
              <a:t>Tulevaisuusvaliokunta</a:t>
            </a:r>
            <a:endParaRPr lang="fi-FI" sz="1200" dirty="0">
              <a:solidFill>
                <a:prstClr val="white"/>
              </a:solidFill>
              <a:latin typeface="+mj-lt"/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fi-FI" sz="1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5137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Seuraavat askeleet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82320" y="1605014"/>
            <a:ext cx="10571480" cy="4248000"/>
          </a:xfrm>
        </p:spPr>
        <p:txBody>
          <a:bodyPr/>
          <a:lstStyle/>
          <a:p>
            <a:pPr lvl="0"/>
            <a:r>
              <a:rPr lang="fi-FI" dirty="0" smtClean="0"/>
              <a:t>Kirjalliset kommentit suoraan </a:t>
            </a:r>
            <a:r>
              <a:rPr lang="fi-FI" dirty="0" err="1" smtClean="0"/>
              <a:t>Teamsiin</a:t>
            </a:r>
            <a:r>
              <a:rPr lang="fi-FI" dirty="0" smtClean="0"/>
              <a:t> tai Lauralle 19.5.</a:t>
            </a:r>
          </a:p>
          <a:p>
            <a:pPr lvl="0"/>
            <a:r>
              <a:rPr lang="fi-FI" dirty="0" smtClean="0"/>
              <a:t>Raportti taittoon 24.5.</a:t>
            </a:r>
          </a:p>
          <a:p>
            <a:pPr lvl="0"/>
            <a:r>
              <a:rPr lang="fi-FI" dirty="0" smtClean="0"/>
              <a:t>Esitysmateriaalin laadinta 24.5. viikolla</a:t>
            </a:r>
            <a:endParaRPr lang="fi-FI" dirty="0"/>
          </a:p>
          <a:p>
            <a:pPr lvl="0"/>
            <a:r>
              <a:rPr lang="fi-FI" dirty="0" smtClean="0"/>
              <a:t>Raportin </a:t>
            </a:r>
            <a:r>
              <a:rPr lang="fi-FI" dirty="0"/>
              <a:t>luovutus ja julkaisu tiistaina 1.6. klo </a:t>
            </a:r>
            <a:r>
              <a:rPr lang="fi-FI" dirty="0" smtClean="0"/>
              <a:t>14.00</a:t>
            </a:r>
          </a:p>
          <a:p>
            <a:pPr lvl="0"/>
            <a:r>
              <a:rPr lang="fi-FI" dirty="0" smtClean="0"/>
              <a:t>Tarkempi suunnitelma valtioneuvoston periaatepäätöksen kanssa etenemisestä</a:t>
            </a:r>
          </a:p>
          <a:p>
            <a:pPr marL="0" lvl="0" indent="0">
              <a:buNone/>
            </a:pPr>
            <a:endParaRPr lang="fi-FI" dirty="0"/>
          </a:p>
          <a:p>
            <a:pPr marL="0" indent="0">
              <a:buNone/>
            </a:pP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13390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81200" y="214560"/>
            <a:ext cx="10571480" cy="1325563"/>
          </a:xfrm>
        </p:spPr>
        <p:txBody>
          <a:bodyPr/>
          <a:lstStyle/>
          <a:p>
            <a:r>
              <a:rPr lang="fi-FI" dirty="0" smtClean="0"/>
              <a:t>Lausunnonantajat ja kommentoijat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81200" y="1341121"/>
            <a:ext cx="10571480" cy="2560319"/>
          </a:xfrm>
        </p:spPr>
        <p:txBody>
          <a:bodyPr/>
          <a:lstStyle/>
          <a:p>
            <a:pPr marL="0" indent="0">
              <a:buNone/>
            </a:pPr>
            <a:r>
              <a:rPr lang="fi-FI" sz="2000" b="1" dirty="0" err="1" smtClean="0"/>
              <a:t>Inclus</a:t>
            </a:r>
            <a:r>
              <a:rPr lang="fi-FI" sz="2000" b="1" dirty="0" smtClean="0"/>
              <a:t> ja Otakantaa.fi – vastaajien taustaorganisaatiot</a:t>
            </a:r>
          </a:p>
          <a:p>
            <a:r>
              <a:rPr lang="fi-FI" sz="1600" dirty="0" smtClean="0"/>
              <a:t>Ministeriöt: MMM, UM, TEM, SM, OKM</a:t>
            </a:r>
          </a:p>
          <a:p>
            <a:r>
              <a:rPr lang="fi-FI" sz="1600" dirty="0" smtClean="0"/>
              <a:t>Kela, Väylävirasto, </a:t>
            </a:r>
            <a:r>
              <a:rPr lang="fi-FI" sz="1600" dirty="0" err="1" smtClean="0"/>
              <a:t>Traficom</a:t>
            </a:r>
            <a:r>
              <a:rPr lang="fi-FI" sz="1600" dirty="0" smtClean="0"/>
              <a:t>, BF, Ilmatieteenlaitos, Tilastokeskus, Verohallinto, OPH, BFVC, KKV, TTL, Yhdenvertaisuusvaltuutettu</a:t>
            </a:r>
          </a:p>
          <a:p>
            <a:r>
              <a:rPr lang="fi-FI" sz="1600" dirty="0" smtClean="0"/>
              <a:t>VTT, LUT, Teknologiakampus Turku, Åbo Akademi, Turun yliopisto, Aalto</a:t>
            </a:r>
          </a:p>
          <a:p>
            <a:r>
              <a:rPr lang="fi-FI" sz="1600" dirty="0" smtClean="0"/>
              <a:t>Kaupungit/kunnat: Turku, Helsinki, Lappeenranta</a:t>
            </a:r>
          </a:p>
          <a:p>
            <a:r>
              <a:rPr lang="fi-FI" sz="1600" dirty="0" smtClean="0"/>
              <a:t>EK, Teknologiateollisuus, Kemianteollisuus, Metsäteollisuus, Suomen yrittäjät, Puolueiden tietopolitiikka, Tieteentekijät, Akava, Kuuloliitto, </a:t>
            </a:r>
            <a:r>
              <a:rPr lang="fi-FI" sz="1600" dirty="0" err="1" smtClean="0"/>
              <a:t>Palta</a:t>
            </a:r>
            <a:r>
              <a:rPr lang="fi-FI" sz="1600" dirty="0" smtClean="0"/>
              <a:t>, Kuntaliitto, Metropoliseura, Sivistystyönantajat, Ohjelmisto- ja e-business, Suomen Tekstiili ja Muoti, SAK, Tekniikan Akateemiset, OAJ, Valtakunnallinen YES ry ja YES-verkosto</a:t>
            </a:r>
          </a:p>
          <a:p>
            <a:r>
              <a:rPr lang="fi-FI" sz="1600" dirty="0" smtClean="0"/>
              <a:t>Sitra </a:t>
            </a:r>
          </a:p>
          <a:p>
            <a:r>
              <a:rPr lang="fi-FI" sz="1600" dirty="0" smtClean="0"/>
              <a:t>IQM, F-Secure, </a:t>
            </a:r>
            <a:r>
              <a:rPr lang="fi-FI" sz="1600" dirty="0" err="1" smtClean="0"/>
              <a:t>Innofactor</a:t>
            </a:r>
            <a:r>
              <a:rPr lang="fi-FI" sz="1600" dirty="0" smtClean="0"/>
              <a:t>, </a:t>
            </a:r>
            <a:r>
              <a:rPr lang="fi-FI" sz="1600" dirty="0" err="1" smtClean="0"/>
              <a:t>Murata</a:t>
            </a:r>
            <a:r>
              <a:rPr lang="fi-FI" sz="1600" dirty="0" smtClean="0"/>
              <a:t>, Vastuu Group, Maria01, Valmet, Tieto, EEX, Nokia, </a:t>
            </a:r>
            <a:r>
              <a:rPr lang="fi-FI" sz="1600" dirty="0" err="1" smtClean="0"/>
              <a:t>Cumucore</a:t>
            </a:r>
            <a:r>
              <a:rPr lang="fi-FI" sz="1600" dirty="0" smtClean="0"/>
              <a:t>, </a:t>
            </a:r>
            <a:r>
              <a:rPr lang="fi-FI" sz="1600" dirty="0" err="1" smtClean="0"/>
              <a:t>Why-Advisory</a:t>
            </a:r>
            <a:r>
              <a:rPr lang="fi-FI" sz="1600" dirty="0" smtClean="0"/>
              <a:t>, CSC</a:t>
            </a:r>
          </a:p>
          <a:p>
            <a:r>
              <a:rPr lang="fi-FI" sz="1600" dirty="0" smtClean="0"/>
              <a:t>Muutamia yksityishenkilöitä, osasta em. organisaatioita useampi taho</a:t>
            </a:r>
          </a:p>
          <a:p>
            <a:pPr marL="0" indent="0">
              <a:buNone/>
            </a:pPr>
            <a:r>
              <a:rPr lang="fi-FI" sz="2000" b="1" dirty="0" smtClean="0"/>
              <a:t>Työpaja 27.4.</a:t>
            </a:r>
            <a:endParaRPr lang="fi-FI" sz="2000" b="1" dirty="0"/>
          </a:p>
          <a:p>
            <a:r>
              <a:rPr lang="fi-FI" sz="1600" dirty="0" smtClean="0"/>
              <a:t>Yli 100 ilmoittautunutta, ongelmien vuoksi linjoilla noin 80, sekä em. että muita organisaatioita</a:t>
            </a:r>
            <a:r>
              <a:rPr lang="fi-FI" sz="1600" dirty="0"/>
              <a:t>, yhteenveto </a:t>
            </a:r>
            <a:r>
              <a:rPr lang="fi-FI" sz="1600" dirty="0">
                <a:hlinkClick r:id="rId2"/>
              </a:rPr>
              <a:t>https://</a:t>
            </a:r>
            <a:r>
              <a:rPr lang="fi-FI" sz="1600" dirty="0" smtClean="0">
                <a:hlinkClick r:id="rId2"/>
              </a:rPr>
              <a:t>vm.fi/hankesivu?tunnus=VM134:00/2020</a:t>
            </a:r>
            <a:endParaRPr lang="fi-FI" sz="1600" dirty="0" smtClean="0"/>
          </a:p>
          <a:p>
            <a:pPr marL="0" indent="0">
              <a:buNone/>
            </a:pPr>
            <a:endParaRPr lang="fi-FI" sz="1600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4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58885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74744" y="50763"/>
            <a:ext cx="10571480" cy="1014186"/>
          </a:xfrm>
        </p:spPr>
        <p:txBody>
          <a:bodyPr/>
          <a:lstStyle/>
          <a:p>
            <a:r>
              <a:rPr lang="fi-FI" dirty="0" smtClean="0"/>
              <a:t>Yleisiä kommentteja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674744" y="1214985"/>
            <a:ext cx="10224904" cy="4690574"/>
          </a:xfrm>
        </p:spPr>
        <p:txBody>
          <a:bodyPr/>
          <a:lstStyle/>
          <a:p>
            <a:r>
              <a:rPr lang="fi-FI" sz="2000" dirty="0" smtClean="0"/>
              <a:t>Neuvottelukunnan asettamista ja teknologiapolitiikan tarkastelua sekä jatkuvuutta pidetty tärkeänä</a:t>
            </a:r>
          </a:p>
          <a:p>
            <a:r>
              <a:rPr lang="fi-FI" sz="2000" dirty="0" smtClean="0"/>
              <a:t>Pääosin raporttia pidetty selkeänä, kokonaisvaltaisena ja monipuolisena</a:t>
            </a:r>
          </a:p>
          <a:p>
            <a:r>
              <a:rPr lang="fi-FI" sz="2000" dirty="0" smtClean="0"/>
              <a:t>Selkeä malli saanut kiitosta: OKR, tavoitteet, mittaaminen </a:t>
            </a:r>
          </a:p>
          <a:p>
            <a:r>
              <a:rPr lang="fi-FI" sz="2000" dirty="0" smtClean="0"/>
              <a:t>Teknologianeutraaliutta pidetty tärkeänä lähtökohtana ja viitekehyksen laatimista hyvänä, vielä selkiyttämistä jonkin verran</a:t>
            </a:r>
          </a:p>
          <a:p>
            <a:r>
              <a:rPr lang="fi-FI" sz="2000" dirty="0" smtClean="0"/>
              <a:t>Tavoitteisto saanut laajan tuen, muutamissa kommenteissa toivottiin vahvempaa painotusta yhteiskunnalliseen vaikutukseen eikä pidetty julkishallinnon tehokkuutta perimmäisenä tavoitteena</a:t>
            </a:r>
          </a:p>
          <a:p>
            <a:r>
              <a:rPr lang="fi-FI" sz="2000" dirty="0" smtClean="0"/>
              <a:t>Osa pitänyt toimia konkreettisena, osa kaipasi lisää </a:t>
            </a:r>
            <a:r>
              <a:rPr lang="fi-FI" sz="2000" dirty="0" err="1" smtClean="0"/>
              <a:t>konkretiaa</a:t>
            </a:r>
            <a:endParaRPr lang="fi-FI" sz="2000" dirty="0" smtClean="0"/>
          </a:p>
          <a:p>
            <a:r>
              <a:rPr lang="fi-FI" sz="2000" dirty="0" smtClean="0"/>
              <a:t>Toimenpiteitä pidetty kattavina - mieluummin toimien priorisointi ja tiivistäminen kuin lisääminen, suhde meneillään oleviin hankkeisiin jne.</a:t>
            </a:r>
          </a:p>
          <a:p>
            <a:r>
              <a:rPr lang="fi-FI" sz="2000" dirty="0" smtClean="0"/>
              <a:t>Kaikille toimenpideosioille oma kannattajakuntansa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57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81200" y="0"/>
            <a:ext cx="10571480" cy="1325563"/>
          </a:xfrm>
        </p:spPr>
        <p:txBody>
          <a:bodyPr/>
          <a:lstStyle/>
          <a:p>
            <a:r>
              <a:rPr lang="fi-FI" dirty="0" smtClean="0"/>
              <a:t>Kriittisiä / kehityshuomioita yleisesti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81200" y="1056622"/>
            <a:ext cx="10998424" cy="4248000"/>
          </a:xfrm>
        </p:spPr>
        <p:txBody>
          <a:bodyPr/>
          <a:lstStyle/>
          <a:p>
            <a:r>
              <a:rPr lang="fi-FI" sz="2000" dirty="0"/>
              <a:t>T</a:t>
            </a:r>
            <a:r>
              <a:rPr lang="fi-FI" sz="2000" dirty="0" smtClean="0"/>
              <a:t>eknologioiden hyödyntäminen vielä laajemmin mukaan</a:t>
            </a:r>
          </a:p>
          <a:p>
            <a:r>
              <a:rPr lang="fi-FI" sz="2000" dirty="0" smtClean="0"/>
              <a:t>ICT-painotus nousi muutamassa lausunnossa: teknologia tulisi käsitellä laajempana kysymyksenä</a:t>
            </a:r>
          </a:p>
          <a:p>
            <a:r>
              <a:rPr lang="fi-FI" sz="2000" dirty="0" smtClean="0"/>
              <a:t>Digi- ja datapainotus: muut teollisuudenalat mukaan vahvemmin, tehdasteollisuus </a:t>
            </a:r>
          </a:p>
          <a:p>
            <a:r>
              <a:rPr lang="fi-FI" sz="2000" dirty="0" smtClean="0"/>
              <a:t>Pienten ja keskisuurten kaupunkien näkökulma</a:t>
            </a:r>
          </a:p>
          <a:p>
            <a:r>
              <a:rPr lang="fi-FI" sz="2000" dirty="0"/>
              <a:t>Saavutetaanko tavoitteet esitetyillä toimilla</a:t>
            </a:r>
            <a:r>
              <a:rPr lang="fi-FI" sz="2000" dirty="0" smtClean="0"/>
              <a:t>?</a:t>
            </a:r>
          </a:p>
          <a:p>
            <a:r>
              <a:rPr lang="fi-FI" sz="2000" dirty="0" smtClean="0"/>
              <a:t>Ilmastonäkökulma ja –toimet / kestävä kehitys liian kapeita</a:t>
            </a:r>
          </a:p>
          <a:p>
            <a:r>
              <a:rPr lang="fi-FI" sz="2000" dirty="0" smtClean="0"/>
              <a:t>Ihmislähtöisyyden vahvistaminen</a:t>
            </a:r>
          </a:p>
          <a:p>
            <a:r>
              <a:rPr lang="fi-FI" sz="2000" dirty="0" smtClean="0"/>
              <a:t>EU/KV-näkökulmaa lisää</a:t>
            </a:r>
          </a:p>
          <a:p>
            <a:r>
              <a:rPr lang="fi-FI" sz="2000" dirty="0" smtClean="0"/>
              <a:t>Teknologiakehityksen riskit, mm. alustatalouden vaikutus</a:t>
            </a:r>
          </a:p>
          <a:p>
            <a:r>
              <a:rPr lang="fi-FI" sz="2000" dirty="0" smtClean="0"/>
              <a:t>Osaaminen vielä laajemmin mukaan holistisena</a:t>
            </a:r>
          </a:p>
          <a:p>
            <a:r>
              <a:rPr lang="fi-FI" sz="2000" dirty="0" smtClean="0"/>
              <a:t>Toimissa (etenkin digi/data-kokonaisuus) on päällekkäisyyttä, toimien kirkastaminen vielä</a:t>
            </a:r>
          </a:p>
          <a:p>
            <a:r>
              <a:rPr lang="fi-FI" sz="2000" dirty="0" smtClean="0"/>
              <a:t>Julkiselle sektorille tulevan arvon kirkastaminen esim. hankinnoissa ja kokeiluissa</a:t>
            </a:r>
          </a:p>
          <a:p>
            <a:r>
              <a:rPr lang="fi-FI" sz="2000" dirty="0" smtClean="0"/>
              <a:t>Lukuisia tarkempia ehdotuksia </a:t>
            </a:r>
          </a:p>
          <a:p>
            <a:pPr marL="0" indent="0">
              <a:buNone/>
            </a:pPr>
            <a:endParaRPr lang="fi-FI" sz="2000" dirty="0" smtClean="0"/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2270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7</a:t>
            </a:fld>
            <a:endParaRPr lang="fi-FI" dirty="0"/>
          </a:p>
        </p:txBody>
      </p:sp>
      <p:pic>
        <p:nvPicPr>
          <p:cNvPr id="3" name="Kuva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894" y="84425"/>
            <a:ext cx="6856730" cy="6597511"/>
          </a:xfrm>
          <a:prstGeom prst="rect">
            <a:avLst/>
          </a:prstGeom>
        </p:spPr>
      </p:pic>
      <p:sp>
        <p:nvSpPr>
          <p:cNvPr id="5" name="Tekstiruutu 4"/>
          <p:cNvSpPr txBox="1"/>
          <p:nvPr/>
        </p:nvSpPr>
        <p:spPr>
          <a:xfrm>
            <a:off x="7490011" y="1804286"/>
            <a:ext cx="4276165" cy="31577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  <a:spcBef>
                <a:spcPct val="0"/>
              </a:spcBef>
            </a:pPr>
            <a:r>
              <a:rPr lang="fi-FI" sz="36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Kokonaisarviossa selvä tuki ehdotetuille toimenpiteille sekä vaikuttavuuden että toteutuksen tarpeellisuuden osalta</a:t>
            </a:r>
            <a:endParaRPr lang="fi-FI" sz="36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522126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8</a:t>
            </a:fld>
            <a:endParaRPr lang="fi-FI" dirty="0"/>
          </a:p>
        </p:txBody>
      </p:sp>
      <p:pic>
        <p:nvPicPr>
          <p:cNvPr id="6" name="Kuva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6753" y="892251"/>
            <a:ext cx="7987553" cy="5789685"/>
          </a:xfrm>
          <a:prstGeom prst="rect">
            <a:avLst/>
          </a:prstGeom>
        </p:spPr>
      </p:pic>
      <p:sp>
        <p:nvSpPr>
          <p:cNvPr id="8" name="Tekstiruutu 7"/>
          <p:cNvSpPr txBox="1"/>
          <p:nvPr/>
        </p:nvSpPr>
        <p:spPr>
          <a:xfrm>
            <a:off x="551329" y="201707"/>
            <a:ext cx="1186927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36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arkempi </a:t>
            </a:r>
            <a:r>
              <a:rPr lang="fi-FI" sz="36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näkymä kohdennettuna hajonta-alueelle   </a:t>
            </a:r>
            <a:endParaRPr lang="fi-FI" sz="36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" name="Tekstiruutu 3"/>
          <p:cNvSpPr txBox="1"/>
          <p:nvPr/>
        </p:nvSpPr>
        <p:spPr>
          <a:xfrm>
            <a:off x="7395882" y="5029200"/>
            <a:ext cx="2138083" cy="165273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fi-FI" dirty="0" err="1" smtClean="0"/>
          </a:p>
        </p:txBody>
      </p:sp>
    </p:spTree>
    <p:extLst>
      <p:ext uri="{BB962C8B-B14F-4D97-AF65-F5344CB8AC3E}">
        <p14:creationId xmlns:p14="http://schemas.microsoft.com/office/powerpoint/2010/main" val="703455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isällön paikkamerkki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48080" y="1322034"/>
            <a:ext cx="9727323" cy="5131302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Top 10-toimenpiteet kaikilla arviointikriteereillä</a:t>
            </a:r>
            <a:br>
              <a:rPr lang="fi-FI" dirty="0" smtClean="0"/>
            </a:br>
            <a:r>
              <a:rPr lang="fi-FI" sz="2400" dirty="0" smtClean="0"/>
              <a:t>(vaikuttavuus, toteutuksen tärkeys, top 5-toimet per tavoitekategoria, viimeisimmät jaetulla sijalla)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9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99077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TwNyTkREQqyM8CRQKO_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KA6uW69iCoOEjX5Cdz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972v46n3MC1Y8QUhf.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kOjoPV79Es2DJk4QIf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H7mJ7lgz9SwBCDDdidI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AP_8Yy.xMECL.zfSPP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M2019 teema">
  <a:themeElements>
    <a:clrScheme name="VM2019">
      <a:dk1>
        <a:sysClr val="windowText" lastClr="000000"/>
      </a:dk1>
      <a:lt1>
        <a:sysClr val="window" lastClr="FFFFFF"/>
      </a:lt1>
      <a:dk2>
        <a:srgbClr val="365ABD"/>
      </a:dk2>
      <a:lt2>
        <a:srgbClr val="E7E6E6"/>
      </a:lt2>
      <a:accent1>
        <a:srgbClr val="365ABD"/>
      </a:accent1>
      <a:accent2>
        <a:srgbClr val="1B365D"/>
      </a:accent2>
      <a:accent3>
        <a:srgbClr val="A34E96"/>
      </a:accent3>
      <a:accent4>
        <a:srgbClr val="479A36"/>
      </a:accent4>
      <a:accent5>
        <a:srgbClr val="728CD1"/>
      </a:accent5>
      <a:accent6>
        <a:srgbClr val="6D6E71"/>
      </a:accent6>
      <a:hlink>
        <a:srgbClr val="0563C1"/>
      </a:hlink>
      <a:folHlink>
        <a:srgbClr val="954F72"/>
      </a:folHlink>
    </a:clrScheme>
    <a:fontScheme name="VM2019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M_esitysmalli_FI_SV_sininen_lila.potx" id="{E8454F93-2E0B-409D-9B2D-8BAC6BFC0E2B}" vid="{94A68CB0-CF75-4B68-B224-F9082EF07815}"/>
    </a:ext>
  </a:extLst>
</a:theme>
</file>

<file path=ppt/theme/theme2.xml><?xml version="1.0" encoding="utf-8"?>
<a:theme xmlns:a="http://schemas.openxmlformats.org/drawingml/2006/main" name="1_VM2019 teema">
  <a:themeElements>
    <a:clrScheme name="VM2019">
      <a:dk1>
        <a:sysClr val="windowText" lastClr="000000"/>
      </a:dk1>
      <a:lt1>
        <a:sysClr val="window" lastClr="FFFFFF"/>
      </a:lt1>
      <a:dk2>
        <a:srgbClr val="365ABD"/>
      </a:dk2>
      <a:lt2>
        <a:srgbClr val="E7E6E6"/>
      </a:lt2>
      <a:accent1>
        <a:srgbClr val="365ABD"/>
      </a:accent1>
      <a:accent2>
        <a:srgbClr val="1B365D"/>
      </a:accent2>
      <a:accent3>
        <a:srgbClr val="A34E96"/>
      </a:accent3>
      <a:accent4>
        <a:srgbClr val="479A36"/>
      </a:accent4>
      <a:accent5>
        <a:srgbClr val="728CD1"/>
      </a:accent5>
      <a:accent6>
        <a:srgbClr val="6D6E71"/>
      </a:accent6>
      <a:hlink>
        <a:srgbClr val="0563C1"/>
      </a:hlink>
      <a:folHlink>
        <a:srgbClr val="954F72"/>
      </a:folHlink>
    </a:clrScheme>
    <a:fontScheme name="VM2019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M_esitysmalli_FI_SV_sininen_lila.potx" id="{E8454F93-2E0B-409D-9B2D-8BAC6BFC0E2B}" vid="{94A68CB0-CF75-4B68-B224-F9082EF07815}"/>
    </a:ext>
  </a:extLst>
</a:theme>
</file>

<file path=ppt/theme/theme3.xml><?xml version="1.0" encoding="utf-8"?>
<a:theme xmlns:a="http://schemas.openxmlformats.org/drawingml/2006/main" name="2_VM2019 teema">
  <a:themeElements>
    <a:clrScheme name="VM2019">
      <a:dk1>
        <a:sysClr val="windowText" lastClr="000000"/>
      </a:dk1>
      <a:lt1>
        <a:sysClr val="window" lastClr="FFFFFF"/>
      </a:lt1>
      <a:dk2>
        <a:srgbClr val="365ABD"/>
      </a:dk2>
      <a:lt2>
        <a:srgbClr val="E7E6E6"/>
      </a:lt2>
      <a:accent1>
        <a:srgbClr val="365ABD"/>
      </a:accent1>
      <a:accent2>
        <a:srgbClr val="1B365D"/>
      </a:accent2>
      <a:accent3>
        <a:srgbClr val="A34E96"/>
      </a:accent3>
      <a:accent4>
        <a:srgbClr val="479A36"/>
      </a:accent4>
      <a:accent5>
        <a:srgbClr val="728CD1"/>
      </a:accent5>
      <a:accent6>
        <a:srgbClr val="6D6E71"/>
      </a:accent6>
      <a:hlink>
        <a:srgbClr val="0563C1"/>
      </a:hlink>
      <a:folHlink>
        <a:srgbClr val="954F72"/>
      </a:folHlink>
    </a:clrScheme>
    <a:fontScheme name="VM2019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M_esitysmalli_FI_SV_sininen_lila.potx" id="{E8454F93-2E0B-409D-9B2D-8BAC6BFC0E2B}" vid="{94A68CB0-CF75-4B68-B224-F9082EF07815}"/>
    </a:ext>
  </a:extLst>
</a:theme>
</file>

<file path=ppt/theme/theme4.xml><?xml version="1.0" encoding="utf-8"?>
<a:theme xmlns:a="http://schemas.openxmlformats.org/drawingml/2006/main" name="4_VM2019 teema">
  <a:themeElements>
    <a:clrScheme name="VM2019">
      <a:dk1>
        <a:sysClr val="windowText" lastClr="000000"/>
      </a:dk1>
      <a:lt1>
        <a:sysClr val="window" lastClr="FFFFFF"/>
      </a:lt1>
      <a:dk2>
        <a:srgbClr val="365ABD"/>
      </a:dk2>
      <a:lt2>
        <a:srgbClr val="E7E6E6"/>
      </a:lt2>
      <a:accent1>
        <a:srgbClr val="365ABD"/>
      </a:accent1>
      <a:accent2>
        <a:srgbClr val="1B365D"/>
      </a:accent2>
      <a:accent3>
        <a:srgbClr val="A34E96"/>
      </a:accent3>
      <a:accent4>
        <a:srgbClr val="479A36"/>
      </a:accent4>
      <a:accent5>
        <a:srgbClr val="728CD1"/>
      </a:accent5>
      <a:accent6>
        <a:srgbClr val="6D6E71"/>
      </a:accent6>
      <a:hlink>
        <a:srgbClr val="0563C1"/>
      </a:hlink>
      <a:folHlink>
        <a:srgbClr val="954F72"/>
      </a:folHlink>
    </a:clrScheme>
    <a:fontScheme name="VM2019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M_esitysmalli_FI_SV_sininen_lila.potx" id="{E8454F93-2E0B-409D-9B2D-8BAC6BFC0E2B}" vid="{94A68CB0-CF75-4B68-B224-F9082EF07815}"/>
    </a:ext>
  </a:extLst>
</a:theme>
</file>

<file path=ppt/theme/theme5.xml><?xml version="1.0" encoding="utf-8"?>
<a:theme xmlns:a="http://schemas.openxmlformats.org/drawingml/2006/main" name="3_VM2019 teema">
  <a:themeElements>
    <a:clrScheme name="VM2019">
      <a:dk1>
        <a:sysClr val="windowText" lastClr="000000"/>
      </a:dk1>
      <a:lt1>
        <a:sysClr val="window" lastClr="FFFFFF"/>
      </a:lt1>
      <a:dk2>
        <a:srgbClr val="365ABD"/>
      </a:dk2>
      <a:lt2>
        <a:srgbClr val="E7E6E6"/>
      </a:lt2>
      <a:accent1>
        <a:srgbClr val="365ABD"/>
      </a:accent1>
      <a:accent2>
        <a:srgbClr val="1B365D"/>
      </a:accent2>
      <a:accent3>
        <a:srgbClr val="A34E96"/>
      </a:accent3>
      <a:accent4>
        <a:srgbClr val="479A36"/>
      </a:accent4>
      <a:accent5>
        <a:srgbClr val="728CD1"/>
      </a:accent5>
      <a:accent6>
        <a:srgbClr val="6D6E71"/>
      </a:accent6>
      <a:hlink>
        <a:srgbClr val="0563C1"/>
      </a:hlink>
      <a:folHlink>
        <a:srgbClr val="954F72"/>
      </a:folHlink>
    </a:clrScheme>
    <a:fontScheme name="VM2019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M_esitysmalli_FI_SV_sininen_lila.potx" id="{E8454F93-2E0B-409D-9B2D-8BAC6BFC0E2B}" vid="{94A68CB0-CF75-4B68-B224-F9082EF07815}"/>
    </a:ext>
  </a:extLst>
</a:theme>
</file>

<file path=ppt/theme/theme6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FC273FBDB1AAC448BDBB3CA1302F22C6" ma:contentTypeVersion="3" ma:contentTypeDescription="Luo uusi asiakirja." ma:contentTypeScope="" ma:versionID="3cf92efc90fd97c5548b5b3f6d259d45">
  <xsd:schema xmlns:xsd="http://www.w3.org/2001/XMLSchema" xmlns:xs="http://www.w3.org/2001/XMLSchema" xmlns:p="http://schemas.microsoft.com/office/2006/metadata/properties" xmlns:ns2="ebb82943-49da-4504-a2f3-a33fb2eb95f1" targetNamespace="http://schemas.microsoft.com/office/2006/metadata/properties" ma:root="true" ma:fieldsID="73a7f945de27690f0e5612b79736f6f4" ns2:_="">
    <xsd:import namespace="ebb82943-49da-4504-a2f3-a33fb2eb95f1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b82943-49da-4504-a2f3-a33fb2eb95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FF0E12F-365E-4824-AA72-3B4A144E2ED2}">
  <ds:schemaRefs>
    <ds:schemaRef ds:uri="http://schemas.microsoft.com/office/2006/documentManagement/types"/>
    <ds:schemaRef ds:uri="http://schemas.microsoft.com/office/infopath/2007/PartnerControls"/>
    <ds:schemaRef ds:uri="ebb82943-49da-4504-a2f3-a33fb2eb95f1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40BD71D-3354-428F-B3E7-822F20DDB05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D4C6AE7-4EA2-4E9B-99B4-AFEA94CEFF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b82943-49da-4504-a2f3-a33fb2eb95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417</TotalTime>
  <Words>3208</Words>
  <Application>Microsoft Office PowerPoint</Application>
  <PresentationFormat>Laajakuva</PresentationFormat>
  <Paragraphs>506</Paragraphs>
  <Slides>33</Slides>
  <Notes>11</Notes>
  <HiddenSlides>0</HiddenSlides>
  <MMClips>0</MMClips>
  <ScaleCrop>false</ScaleCrop>
  <HeadingPairs>
    <vt:vector size="8" baseType="variant">
      <vt:variant>
        <vt:lpstr>Käytetyt fontit</vt:lpstr>
      </vt:variant>
      <vt:variant>
        <vt:i4>5</vt:i4>
      </vt:variant>
      <vt:variant>
        <vt:lpstr>Teema</vt:lpstr>
      </vt:variant>
      <vt:variant>
        <vt:i4>5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33</vt:i4>
      </vt:variant>
    </vt:vector>
  </HeadingPairs>
  <TitlesOfParts>
    <vt:vector size="44" baseType="lpstr">
      <vt:lpstr>Arial</vt:lpstr>
      <vt:lpstr>Arial Narrow</vt:lpstr>
      <vt:lpstr>Calibri</vt:lpstr>
      <vt:lpstr>Times New Roman</vt:lpstr>
      <vt:lpstr>Trebuchet MS</vt:lpstr>
      <vt:lpstr>VM2019 teema</vt:lpstr>
      <vt:lpstr>1_VM2019 teema</vt:lpstr>
      <vt:lpstr>2_VM2019 teema</vt:lpstr>
      <vt:lpstr>4_VM2019 teema</vt:lpstr>
      <vt:lpstr>3_VM2019 teema</vt:lpstr>
      <vt:lpstr>think-cell Slide</vt:lpstr>
      <vt:lpstr>Teknologianeuvottelukunta 17.5.2021</vt:lpstr>
      <vt:lpstr>Asialista</vt:lpstr>
      <vt:lpstr>2. Lausuntokierroksen palaute ja raportin lopputyöstö</vt:lpstr>
      <vt:lpstr>Lausunnonantajat ja kommentoijat</vt:lpstr>
      <vt:lpstr>Yleisiä kommentteja</vt:lpstr>
      <vt:lpstr>Kriittisiä / kehityshuomioita yleisesti</vt:lpstr>
      <vt:lpstr>PowerPoint-esitys</vt:lpstr>
      <vt:lpstr>PowerPoint-esitys</vt:lpstr>
      <vt:lpstr>Top 10-toimenpiteet kaikilla arviointikriteereillä (vaikuttavuus, toteutuksen tärkeys, top 5-toimet per tavoitekategoria, viimeisimmät jaetulla sijalla)</vt:lpstr>
      <vt:lpstr>Top 10-toimenpiteet vaikuttavuudella ja toteutuksen tärkeydellä </vt:lpstr>
      <vt:lpstr>Toimenpiteisiin liittyviä suuria eroja eri ryhmillä tai vastustusta</vt:lpstr>
      <vt:lpstr>Tavoitteet ja avaintulokset - avaintuloksissa vielä työstöä, jonkin verran muutosehdotuksia lausunnoissa (kommentteja ja ehdotuksia muistiinpanoissa)</vt:lpstr>
      <vt:lpstr>Teknologiapolitiikan OKR –malli Suomelle</vt:lpstr>
      <vt:lpstr>Tavoite 1: Avaintulokset ja tavoitetasot</vt:lpstr>
      <vt:lpstr>Tavoite 2: Avaintulokset ja tavoitetasot</vt:lpstr>
      <vt:lpstr>Tavoite 3: Avaintulokset ja tavoitetasot</vt:lpstr>
      <vt:lpstr>Tavoite 4: Avaintulokset ja tavoitetasot</vt:lpstr>
      <vt:lpstr>Nostot toimenpidekokonaisuuksista – kommentit ja muutosehdotukset</vt:lpstr>
      <vt:lpstr>Tavoitteen 1 toimenpiteistön pääasialliset huomiot</vt:lpstr>
      <vt:lpstr>PowerPoint-esitys</vt:lpstr>
      <vt:lpstr>Tavoitteen 2 toimenpiteistön pääasialliset huomiot</vt:lpstr>
      <vt:lpstr>PowerPoint-esitys</vt:lpstr>
      <vt:lpstr>Tavoitteen 3 toimenpiteistön pääasialliset huomiot</vt:lpstr>
      <vt:lpstr>PowerPoint-esitys</vt:lpstr>
      <vt:lpstr>Tavoitteen 4 toimenpiteistön pääasialliset huomiot</vt:lpstr>
      <vt:lpstr>PowerPoint-esitys</vt:lpstr>
      <vt:lpstr>Johtopäätökset tilannekuvasta (alustava, tarkemmin raportti luku 4.5) </vt:lpstr>
      <vt:lpstr>Työstö viimeisen viikon aikana</vt:lpstr>
      <vt:lpstr>3. Seurantamalli</vt:lpstr>
      <vt:lpstr>Neuvottelukunnan rooli seurannassa ja teknologiapolitiikan tukemisessa</vt:lpstr>
      <vt:lpstr>PowerPoint-esitys</vt:lpstr>
      <vt:lpstr>PowerPoint-esitys</vt:lpstr>
      <vt:lpstr>Seuraavat askeleet</vt:lpstr>
    </vt:vector>
  </TitlesOfParts>
  <Company>Suomen val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uran paketti</dc:title>
  <dc:creator>Laura Eiro</dc:creator>
  <cp:lastModifiedBy>Eiro Laura (VM)</cp:lastModifiedBy>
  <cp:revision>1163</cp:revision>
  <dcterms:created xsi:type="dcterms:W3CDTF">2021-02-23T07:26:39Z</dcterms:created>
  <dcterms:modified xsi:type="dcterms:W3CDTF">2021-05-16T18:5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273FBDB1AAC448BDBB3CA1302F22C6</vt:lpwstr>
  </property>
</Properties>
</file>